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55" r:id="rId4"/>
  </p:sldMasterIdLst>
  <p:notesMasterIdLst>
    <p:notesMasterId r:id="rId15"/>
  </p:notesMasterIdLst>
  <p:handoutMasterIdLst>
    <p:handoutMasterId r:id="rId16"/>
  </p:handoutMasterIdLst>
  <p:sldIdLst>
    <p:sldId id="429" r:id="rId5"/>
    <p:sldId id="3177" r:id="rId6"/>
    <p:sldId id="3179" r:id="rId7"/>
    <p:sldId id="3180" r:id="rId8"/>
    <p:sldId id="3181" r:id="rId9"/>
    <p:sldId id="3182" r:id="rId10"/>
    <p:sldId id="3183" r:id="rId11"/>
    <p:sldId id="3184" r:id="rId12"/>
    <p:sldId id="3185" r:id="rId13"/>
    <p:sldId id="3186" r:id="rId14"/>
  </p:sldIdLst>
  <p:sldSz cx="12195175" cy="6859588"/>
  <p:notesSz cx="6858000" cy="9144000"/>
  <p:custDataLst>
    <p:tags r:id="rId17"/>
  </p:custDataLst>
  <p:defaultTextStyle>
    <a:defPPr>
      <a:defRPr lang="de-DE"/>
    </a:defPPr>
    <a:lvl1pPr marL="0" algn="l" defTabSz="609722" rtl="0" eaLnBrk="1" latinLnBrk="0" hangingPunct="1">
      <a:defRPr sz="2400" kern="1200">
        <a:solidFill>
          <a:schemeClr val="tx1"/>
        </a:solidFill>
        <a:latin typeface="+mn-lt"/>
        <a:ea typeface="+mn-ea"/>
        <a:cs typeface="+mn-cs"/>
      </a:defRPr>
    </a:lvl1pPr>
    <a:lvl2pPr marL="609722" algn="l" defTabSz="609722" rtl="0" eaLnBrk="1" latinLnBrk="0" hangingPunct="1">
      <a:defRPr sz="2400" kern="1200">
        <a:solidFill>
          <a:schemeClr val="tx1"/>
        </a:solidFill>
        <a:latin typeface="+mn-lt"/>
        <a:ea typeface="+mn-ea"/>
        <a:cs typeface="+mn-cs"/>
      </a:defRPr>
    </a:lvl2pPr>
    <a:lvl3pPr marL="1219444" algn="l" defTabSz="609722" rtl="0" eaLnBrk="1" latinLnBrk="0" hangingPunct="1">
      <a:defRPr sz="2400" kern="1200">
        <a:solidFill>
          <a:schemeClr val="tx1"/>
        </a:solidFill>
        <a:latin typeface="+mn-lt"/>
        <a:ea typeface="+mn-ea"/>
        <a:cs typeface="+mn-cs"/>
      </a:defRPr>
    </a:lvl3pPr>
    <a:lvl4pPr marL="1829166" algn="l" defTabSz="609722" rtl="0" eaLnBrk="1" latinLnBrk="0" hangingPunct="1">
      <a:defRPr sz="2400" kern="1200">
        <a:solidFill>
          <a:schemeClr val="tx1"/>
        </a:solidFill>
        <a:latin typeface="+mn-lt"/>
        <a:ea typeface="+mn-ea"/>
        <a:cs typeface="+mn-cs"/>
      </a:defRPr>
    </a:lvl4pPr>
    <a:lvl5pPr marL="2438888" algn="l" defTabSz="609722" rtl="0" eaLnBrk="1" latinLnBrk="0" hangingPunct="1">
      <a:defRPr sz="2400" kern="1200">
        <a:solidFill>
          <a:schemeClr val="tx1"/>
        </a:solidFill>
        <a:latin typeface="+mn-lt"/>
        <a:ea typeface="+mn-ea"/>
        <a:cs typeface="+mn-cs"/>
      </a:defRPr>
    </a:lvl5pPr>
    <a:lvl6pPr marL="3048610" algn="l" defTabSz="609722" rtl="0" eaLnBrk="1" latinLnBrk="0" hangingPunct="1">
      <a:defRPr sz="2400" kern="1200">
        <a:solidFill>
          <a:schemeClr val="tx1"/>
        </a:solidFill>
        <a:latin typeface="+mn-lt"/>
        <a:ea typeface="+mn-ea"/>
        <a:cs typeface="+mn-cs"/>
      </a:defRPr>
    </a:lvl6pPr>
    <a:lvl7pPr marL="3658332" algn="l" defTabSz="609722" rtl="0" eaLnBrk="1" latinLnBrk="0" hangingPunct="1">
      <a:defRPr sz="2400" kern="1200">
        <a:solidFill>
          <a:schemeClr val="tx1"/>
        </a:solidFill>
        <a:latin typeface="+mn-lt"/>
        <a:ea typeface="+mn-ea"/>
        <a:cs typeface="+mn-cs"/>
      </a:defRPr>
    </a:lvl7pPr>
    <a:lvl8pPr marL="4268053" algn="l" defTabSz="609722" rtl="0" eaLnBrk="1" latinLnBrk="0" hangingPunct="1">
      <a:defRPr sz="2400" kern="1200">
        <a:solidFill>
          <a:schemeClr val="tx1"/>
        </a:solidFill>
        <a:latin typeface="+mn-lt"/>
        <a:ea typeface="+mn-ea"/>
        <a:cs typeface="+mn-cs"/>
      </a:defRPr>
    </a:lvl8pPr>
    <a:lvl9pPr marL="4877775" algn="l" defTabSz="609722"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72" userDrawn="1">
          <p15:clr>
            <a:srgbClr val="A4A3A4"/>
          </p15:clr>
        </p15:guide>
        <p15:guide id="2" pos="2880">
          <p15:clr>
            <a:srgbClr val="A4A3A4"/>
          </p15:clr>
        </p15:guide>
        <p15:guide id="3" orient="horz" pos="3113">
          <p15:clr>
            <a:srgbClr val="A4A3A4"/>
          </p15:clr>
        </p15:guide>
        <p15:guide id="4" orient="horz" pos="164">
          <p15:clr>
            <a:srgbClr val="A4A3A4"/>
          </p15:clr>
        </p15:guide>
        <p15:guide id="5" orient="horz" pos="890">
          <p15:clr>
            <a:srgbClr val="A4A3A4"/>
          </p15:clr>
        </p15:guide>
        <p15:guide id="6" orient="horz" pos="4065">
          <p15:clr>
            <a:srgbClr val="A4A3A4"/>
          </p15:clr>
        </p15:guide>
        <p15:guide id="7" orient="horz" pos="4170">
          <p15:clr>
            <a:srgbClr val="A4A3A4"/>
          </p15:clr>
        </p15:guide>
        <p15:guide id="8" orient="horz" pos="663">
          <p15:clr>
            <a:srgbClr val="A4A3A4"/>
          </p15:clr>
        </p15:guide>
        <p15:guide id="9" pos="3841">
          <p15:clr>
            <a:srgbClr val="A4A3A4"/>
          </p15:clr>
        </p15:guide>
        <p15:guide id="10" pos="303">
          <p15:clr>
            <a:srgbClr val="A4A3A4"/>
          </p15:clr>
        </p15:guide>
        <p15:guide id="11" pos="7379">
          <p15:clr>
            <a:srgbClr val="A4A3A4"/>
          </p15:clr>
        </p15:guide>
        <p15:guide id="12" pos="5837">
          <p15:clr>
            <a:srgbClr val="A4A3A4"/>
          </p15:clr>
        </p15:guide>
        <p15:guide id="13" orient="horz" pos="3838">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999" autoAdjust="0"/>
    <p:restoredTop sz="90079" autoAdjust="0"/>
  </p:normalViewPr>
  <p:slideViewPr>
    <p:cSldViewPr>
      <p:cViewPr varScale="1">
        <p:scale>
          <a:sx n="78" d="100"/>
          <a:sy n="78" d="100"/>
        </p:scale>
        <p:origin x="898" y="106"/>
      </p:cViewPr>
      <p:guideLst>
        <p:guide orient="horz" pos="572"/>
        <p:guide pos="2880"/>
        <p:guide orient="horz" pos="3113"/>
        <p:guide orient="horz" pos="164"/>
        <p:guide orient="horz" pos="890"/>
        <p:guide orient="horz" pos="4065"/>
        <p:guide orient="horz" pos="4170"/>
        <p:guide orient="horz" pos="663"/>
        <p:guide pos="3841"/>
        <p:guide pos="303"/>
        <p:guide pos="7379"/>
        <p:guide pos="5837"/>
        <p:guide orient="horz" pos="3838"/>
      </p:guideLst>
    </p:cSldViewPr>
  </p:slideViewPr>
  <p:notesTextViewPr>
    <p:cViewPr>
      <p:scale>
        <a:sx n="3" d="2"/>
        <a:sy n="3" d="2"/>
      </p:scale>
      <p:origin x="0" y="0"/>
    </p:cViewPr>
  </p:notesTextViewPr>
  <p:sorterViewPr>
    <p:cViewPr>
      <p:scale>
        <a:sx n="100" d="100"/>
        <a:sy n="100" d="100"/>
      </p:scale>
      <p:origin x="0" y="0"/>
    </p:cViewPr>
  </p:sorterViewPr>
  <p:notesViewPr>
    <p:cSldViewPr showGuides="1">
      <p:cViewPr varScale="1">
        <p:scale>
          <a:sx n="64" d="100"/>
          <a:sy n="64" d="100"/>
        </p:scale>
        <p:origin x="3115"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h, Jonathan" userId="721e940b-06dc-498b-a9b1-35a2ba3df229" providerId="ADAL" clId="{FCBEF5F2-7842-45A8-9EFC-EE7F30B97488}"/>
    <pc:docChg chg="custSel modSld">
      <pc:chgData name="Oh, Jonathan" userId="721e940b-06dc-498b-a9b1-35a2ba3df229" providerId="ADAL" clId="{FCBEF5F2-7842-45A8-9EFC-EE7F30B97488}" dt="2023-11-19T09:45:02.671" v="35" actId="1036"/>
      <pc:docMkLst>
        <pc:docMk/>
      </pc:docMkLst>
      <pc:sldChg chg="modSp">
        <pc:chgData name="Oh, Jonathan" userId="721e940b-06dc-498b-a9b1-35a2ba3df229" providerId="ADAL" clId="{FCBEF5F2-7842-45A8-9EFC-EE7F30B97488}" dt="2023-11-19T09:45:02.671" v="35" actId="1036"/>
        <pc:sldMkLst>
          <pc:docMk/>
          <pc:sldMk cId="1335888059" sldId="3182"/>
        </pc:sldMkLst>
        <pc:spChg chg="mod">
          <ac:chgData name="Oh, Jonathan" userId="721e940b-06dc-498b-a9b1-35a2ba3df229" providerId="ADAL" clId="{FCBEF5F2-7842-45A8-9EFC-EE7F30B97488}" dt="2023-11-19T09:45:02.671" v="35" actId="1036"/>
          <ac:spMkLst>
            <pc:docMk/>
            <pc:sldMk cId="1335888059" sldId="3182"/>
            <ac:spMk id="17" creationId="{4976053C-1035-4DF1-8EA8-6766C438123D}"/>
          </ac:spMkLst>
        </pc:spChg>
      </pc:sldChg>
      <pc:sldChg chg="modSp">
        <pc:chgData name="Oh, Jonathan" userId="721e940b-06dc-498b-a9b1-35a2ba3df229" providerId="ADAL" clId="{FCBEF5F2-7842-45A8-9EFC-EE7F30B97488}" dt="2023-11-19T09:44:49.571" v="32" actId="1038"/>
        <pc:sldMkLst>
          <pc:docMk/>
          <pc:sldMk cId="3902263635" sldId="3183"/>
        </pc:sldMkLst>
        <pc:spChg chg="mod">
          <ac:chgData name="Oh, Jonathan" userId="721e940b-06dc-498b-a9b1-35a2ba3df229" providerId="ADAL" clId="{FCBEF5F2-7842-45A8-9EFC-EE7F30B97488}" dt="2023-11-19T09:44:49.571" v="32" actId="1038"/>
          <ac:spMkLst>
            <pc:docMk/>
            <pc:sldMk cId="3902263635" sldId="3183"/>
            <ac:spMk id="12" creationId="{3910E5E4-EC5E-4207-B768-08DE96589FBA}"/>
          </ac:spMkLst>
        </pc:spChg>
      </pc:sldChg>
      <pc:sldChg chg="delSp modSp delAnim modAnim">
        <pc:chgData name="Oh, Jonathan" userId="721e940b-06dc-498b-a9b1-35a2ba3df229" providerId="ADAL" clId="{FCBEF5F2-7842-45A8-9EFC-EE7F30B97488}" dt="2023-11-19T09:44:39.951" v="29" actId="1037"/>
        <pc:sldMkLst>
          <pc:docMk/>
          <pc:sldMk cId="1756106378" sldId="3185"/>
        </pc:sldMkLst>
        <pc:spChg chg="mod">
          <ac:chgData name="Oh, Jonathan" userId="721e940b-06dc-498b-a9b1-35a2ba3df229" providerId="ADAL" clId="{FCBEF5F2-7842-45A8-9EFC-EE7F30B97488}" dt="2023-11-19T09:44:39.951" v="29" actId="1037"/>
          <ac:spMkLst>
            <pc:docMk/>
            <pc:sldMk cId="1756106378" sldId="3185"/>
            <ac:spMk id="2" creationId="{228EB17C-490A-467D-904A-6FC3E48AD003}"/>
          </ac:spMkLst>
        </pc:spChg>
        <pc:spChg chg="del mod">
          <ac:chgData name="Oh, Jonathan" userId="721e940b-06dc-498b-a9b1-35a2ba3df229" providerId="ADAL" clId="{FCBEF5F2-7842-45A8-9EFC-EE7F30B97488}" dt="2023-11-19T09:41:02.690" v="9" actId="478"/>
          <ac:spMkLst>
            <pc:docMk/>
            <pc:sldMk cId="1756106378" sldId="3185"/>
            <ac:spMk id="7" creationId="{9B2A65FB-5D71-4B66-96B8-8F6E9837614E}"/>
          </ac:spMkLst>
        </pc:spChg>
        <pc:picChg chg="del">
          <ac:chgData name="Oh, Jonathan" userId="721e940b-06dc-498b-a9b1-35a2ba3df229" providerId="ADAL" clId="{FCBEF5F2-7842-45A8-9EFC-EE7F30B97488}" dt="2023-11-19T09:40:36.694" v="0" actId="478"/>
          <ac:picMkLst>
            <pc:docMk/>
            <pc:sldMk cId="1756106378" sldId="3185"/>
            <ac:picMk id="8" creationId="{252F2C93-42CA-492B-ABF2-389D3D516DBB}"/>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97160" y="226368"/>
            <a:ext cx="5996136" cy="457200"/>
          </a:xfrm>
          <a:prstGeom prst="rect">
            <a:avLst/>
          </a:prstGeom>
        </p:spPr>
        <p:txBody>
          <a:bodyPr vert="horz" lIns="91440" tIns="45720" rIns="91440" bIns="45720" rtlCol="0" anchor="t"/>
          <a:lstStyle>
            <a:lvl1pPr algn="l">
              <a:defRPr sz="1200"/>
            </a:lvl1pPr>
          </a:lstStyle>
          <a:p>
            <a:endParaRPr lang="de-DE" sz="800" dirty="0">
              <a:latin typeface="Arial"/>
            </a:endParaRPr>
          </a:p>
        </p:txBody>
      </p:sp>
      <p:sp>
        <p:nvSpPr>
          <p:cNvPr id="5" name="Foliennummernplatzhalter 4"/>
          <p:cNvSpPr>
            <a:spLocks noGrp="1"/>
          </p:cNvSpPr>
          <p:nvPr>
            <p:ph type="sldNum" sz="quarter" idx="3"/>
          </p:nvPr>
        </p:nvSpPr>
        <p:spPr>
          <a:xfrm>
            <a:off x="6165304" y="226368"/>
            <a:ext cx="595536" cy="457200"/>
          </a:xfrm>
          <a:prstGeom prst="rect">
            <a:avLst/>
          </a:prstGeom>
        </p:spPr>
        <p:txBody>
          <a:bodyPr vert="horz" lIns="91440" tIns="45720" rIns="91440" bIns="45720" rtlCol="0" anchor="t"/>
          <a:lstStyle>
            <a:lvl1pPr algn="r">
              <a:defRPr sz="1200"/>
            </a:lvl1pPr>
          </a:lstStyle>
          <a:p>
            <a:fld id="{55F2DF3C-69A9-C048-81CC-756AC4E57132}" type="slidenum">
              <a:rPr lang="de-DE" sz="800" smtClean="0">
                <a:latin typeface="Arial"/>
              </a:rPr>
              <a:pPr/>
              <a:t>‹#›</a:t>
            </a:fld>
            <a:endParaRPr lang="de-DE" sz="800" dirty="0">
              <a:latin typeface="Arial"/>
            </a:endParaRPr>
          </a:p>
        </p:txBody>
      </p:sp>
      <p:grpSp>
        <p:nvGrpSpPr>
          <p:cNvPr id="9" name="Gruppieren 8"/>
          <p:cNvGrpSpPr/>
          <p:nvPr/>
        </p:nvGrpSpPr>
        <p:grpSpPr>
          <a:xfrm>
            <a:off x="30596" y="8603178"/>
            <a:ext cx="6796808" cy="540822"/>
            <a:chOff x="0" y="9415575"/>
            <a:chExt cx="6796808" cy="540822"/>
          </a:xfrm>
        </p:grpSpPr>
        <p:pic>
          <p:nvPicPr>
            <p:cNvPr id="10" name="Grafik 9"/>
            <p:cNvPicPr>
              <a:picLocks noChangeAspect="1"/>
            </p:cNvPicPr>
            <p:nvPr/>
          </p:nvPicPr>
          <p:blipFill rotWithShape="1">
            <a:blip r:embed="rId2">
              <a:extLst>
                <a:ext uri="{28A0092B-C50C-407E-A947-70E740481C1C}">
                  <a14:useLocalDpi xmlns:a14="http://schemas.microsoft.com/office/drawing/2010/main" val="0"/>
                </a:ext>
              </a:extLst>
            </a:blip>
            <a:srcRect l="492" t="-97" r="69694" b="17284"/>
            <a:stretch/>
          </p:blipFill>
          <p:spPr>
            <a:xfrm>
              <a:off x="0" y="9525195"/>
              <a:ext cx="1301209" cy="431202"/>
            </a:xfrm>
            <a:prstGeom prst="rect">
              <a:avLst/>
            </a:prstGeom>
          </p:spPr>
        </p:pic>
        <p:pic>
          <p:nvPicPr>
            <p:cNvPr id="11" name="Grafik 10"/>
            <p:cNvPicPr>
              <a:picLocks noChangeAspect="1"/>
            </p:cNvPicPr>
            <p:nvPr/>
          </p:nvPicPr>
          <p:blipFill rotWithShape="1">
            <a:blip r:embed="rId3" cstate="print">
              <a:extLst>
                <a:ext uri="{28A0092B-C50C-407E-A947-70E740481C1C}">
                  <a14:useLocalDpi xmlns:a14="http://schemas.microsoft.com/office/drawing/2010/main" val="0"/>
                </a:ext>
              </a:extLst>
            </a:blip>
            <a:srcRect l="57559" t="5701" r="1054" b="86288"/>
            <a:stretch/>
          </p:blipFill>
          <p:spPr bwMode="auto">
            <a:xfrm>
              <a:off x="5037226" y="9415575"/>
              <a:ext cx="1759582" cy="528033"/>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24886114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260648" y="251520"/>
            <a:ext cx="4536504" cy="2551784"/>
          </a:xfrm>
          <a:prstGeom prst="rect">
            <a:avLst/>
          </a:prstGeom>
          <a:noFill/>
          <a:ln w="6350">
            <a:solidFill>
              <a:prstClr val="black"/>
            </a:solidFill>
          </a:ln>
        </p:spPr>
        <p:txBody>
          <a:bodyPr vert="horz" lIns="91440" tIns="45720" rIns="91440" bIns="45720" rtlCol="0" anchor="ctr"/>
          <a:lstStyle/>
          <a:p>
            <a:endParaRPr lang="de-DE" dirty="0">
              <a:latin typeface="Arial"/>
            </a:endParaRPr>
          </a:p>
        </p:txBody>
      </p:sp>
      <p:sp>
        <p:nvSpPr>
          <p:cNvPr id="5" name="Notizenplatzhalter 4"/>
          <p:cNvSpPr>
            <a:spLocks noGrp="1"/>
          </p:cNvSpPr>
          <p:nvPr>
            <p:ph type="body" sz="quarter" idx="3"/>
          </p:nvPr>
        </p:nvSpPr>
        <p:spPr>
          <a:xfrm>
            <a:off x="260648" y="3059832"/>
            <a:ext cx="6336704" cy="5398368"/>
          </a:xfrm>
          <a:prstGeom prst="rect">
            <a:avLst/>
          </a:prstGeom>
        </p:spPr>
        <p:txBody>
          <a:bodyPr vert="horz" lIns="0" tIns="0" rIns="0" bIns="0" rtlCol="0" anchor="t" anchorCtr="0"/>
          <a:lstStyle/>
          <a:p>
            <a:pPr lvl="0"/>
            <a:r>
              <a:rPr lang="en-US" noProof="0" dirty="0" err="1"/>
              <a:t>Textmasterformat</a:t>
            </a:r>
            <a:r>
              <a:rPr lang="en-US" noProof="0" dirty="0"/>
              <a:t> </a:t>
            </a:r>
            <a:r>
              <a:rPr lang="en-US" noProof="0" dirty="0" err="1"/>
              <a:t>bearbeiten</a:t>
            </a:r>
            <a:endParaRPr lang="en-US" noProof="0" dirty="0"/>
          </a:p>
          <a:p>
            <a:pPr lvl="1"/>
            <a:r>
              <a:rPr lang="en-US" noProof="0" dirty="0" err="1"/>
              <a:t>Zweite</a:t>
            </a:r>
            <a:r>
              <a:rPr lang="en-US" noProof="0" dirty="0"/>
              <a:t> </a:t>
            </a:r>
            <a:r>
              <a:rPr lang="en-US" noProof="0" dirty="0" err="1"/>
              <a:t>Ebene</a:t>
            </a:r>
            <a:endParaRPr lang="en-US" noProof="0" dirty="0"/>
          </a:p>
          <a:p>
            <a:pPr lvl="2"/>
            <a:r>
              <a:rPr lang="en-US" noProof="0" dirty="0" err="1"/>
              <a:t>Dritte</a:t>
            </a:r>
            <a:r>
              <a:rPr lang="en-US" noProof="0" dirty="0"/>
              <a:t> </a:t>
            </a:r>
            <a:r>
              <a:rPr lang="en-US" noProof="0" dirty="0" err="1"/>
              <a:t>Ebene</a:t>
            </a:r>
            <a:endParaRPr lang="en-US" noProof="0" dirty="0"/>
          </a:p>
          <a:p>
            <a:pPr lvl="3"/>
            <a:r>
              <a:rPr lang="en-US" noProof="0" dirty="0" err="1"/>
              <a:t>Vierte</a:t>
            </a:r>
            <a:r>
              <a:rPr lang="en-US" noProof="0" dirty="0"/>
              <a:t> </a:t>
            </a:r>
            <a:r>
              <a:rPr lang="en-US" noProof="0" dirty="0" err="1"/>
              <a:t>Ebene</a:t>
            </a:r>
            <a:endParaRPr lang="en-US" noProof="0" dirty="0"/>
          </a:p>
          <a:p>
            <a:pPr lvl="4"/>
            <a:r>
              <a:rPr lang="en-US" noProof="0" dirty="0" err="1"/>
              <a:t>Fünfte</a:t>
            </a:r>
            <a:r>
              <a:rPr lang="en-US" noProof="0" dirty="0"/>
              <a:t> </a:t>
            </a:r>
            <a:r>
              <a:rPr lang="en-US" noProof="0" dirty="0" err="1"/>
              <a:t>Ebene</a:t>
            </a:r>
            <a:endParaRPr lang="en-US" noProof="0" dirty="0"/>
          </a:p>
          <a:p>
            <a:pPr lvl="5"/>
            <a:r>
              <a:rPr lang="en-US" noProof="0" dirty="0"/>
              <a:t>6</a:t>
            </a:r>
          </a:p>
          <a:p>
            <a:pPr lvl="6"/>
            <a:r>
              <a:rPr lang="en-US" noProof="0" dirty="0"/>
              <a:t>7</a:t>
            </a:r>
          </a:p>
          <a:p>
            <a:pPr lvl="7"/>
            <a:r>
              <a:rPr lang="en-US" noProof="0" dirty="0"/>
              <a:t>8</a:t>
            </a:r>
          </a:p>
          <a:p>
            <a:pPr lvl="8"/>
            <a:r>
              <a:rPr lang="en-US" noProof="0" dirty="0"/>
              <a:t>9</a:t>
            </a:r>
          </a:p>
        </p:txBody>
      </p:sp>
      <p:sp>
        <p:nvSpPr>
          <p:cNvPr id="6" name="Fußzeilenplatzhalter 5"/>
          <p:cNvSpPr>
            <a:spLocks noGrp="1"/>
          </p:cNvSpPr>
          <p:nvPr>
            <p:ph type="ftr" sz="quarter" idx="4"/>
          </p:nvPr>
        </p:nvSpPr>
        <p:spPr>
          <a:xfrm>
            <a:off x="260648" y="8685213"/>
            <a:ext cx="5688632" cy="207267"/>
          </a:xfrm>
          <a:prstGeom prst="rect">
            <a:avLst/>
          </a:prstGeom>
        </p:spPr>
        <p:txBody>
          <a:bodyPr vert="horz" lIns="0" tIns="0" rIns="0" bIns="0" rtlCol="0" anchor="t" anchorCtr="0"/>
          <a:lstStyle>
            <a:lvl1pPr algn="l">
              <a:defRPr sz="800"/>
            </a:lvl1pPr>
          </a:lstStyle>
          <a:p>
            <a:endParaRPr lang="en-US" dirty="0"/>
          </a:p>
        </p:txBody>
      </p:sp>
      <p:sp>
        <p:nvSpPr>
          <p:cNvPr id="7" name="Foliennummernplatzhalter 6"/>
          <p:cNvSpPr>
            <a:spLocks noGrp="1"/>
          </p:cNvSpPr>
          <p:nvPr>
            <p:ph type="sldNum" sz="quarter" idx="5"/>
          </p:nvPr>
        </p:nvSpPr>
        <p:spPr>
          <a:xfrm>
            <a:off x="6093296" y="8685213"/>
            <a:ext cx="523528" cy="207267"/>
          </a:xfrm>
          <a:prstGeom prst="rect">
            <a:avLst/>
          </a:prstGeom>
        </p:spPr>
        <p:txBody>
          <a:bodyPr vert="horz" lIns="0" tIns="0" rIns="0" bIns="0" rtlCol="0" anchor="t" anchorCtr="0"/>
          <a:lstStyle>
            <a:lvl1pPr algn="r">
              <a:defRPr sz="800"/>
            </a:lvl1pPr>
          </a:lstStyle>
          <a:p>
            <a:fld id="{F87A4B69-EC37-4945-805A-C13355A10099}" type="slidenum">
              <a:rPr lang="en-US" smtClean="0"/>
              <a:pPr/>
              <a:t>‹#›</a:t>
            </a:fld>
            <a:endParaRPr lang="en-US" dirty="0"/>
          </a:p>
        </p:txBody>
      </p:sp>
    </p:spTree>
    <p:extLst>
      <p:ext uri="{BB962C8B-B14F-4D97-AF65-F5344CB8AC3E}">
        <p14:creationId xmlns:p14="http://schemas.microsoft.com/office/powerpoint/2010/main" val="3440784200"/>
      </p:ext>
    </p:extLst>
  </p:cSld>
  <p:clrMap bg1="lt1" tx1="dk1" bg2="lt2" tx2="dk2" accent1="accent1" accent2="accent2" accent3="accent3" accent4="accent4" accent5="accent5" accent6="accent6" hlink="hlink" folHlink="folHlink"/>
  <p:hf hdr="0" ftr="0" dt="0"/>
  <p:notesStyle>
    <a:lvl1pPr marL="0" algn="l" defTabSz="609722" rtl="0" eaLnBrk="1" latinLnBrk="0" hangingPunct="1">
      <a:lnSpc>
        <a:spcPct val="120000"/>
      </a:lnSpc>
      <a:defRPr sz="1100" kern="1200">
        <a:solidFill>
          <a:schemeClr val="tx1"/>
        </a:solidFill>
        <a:latin typeface="+mn-lt"/>
        <a:ea typeface="+mn-ea"/>
        <a:cs typeface="+mn-cs"/>
        <a:sym typeface="Arial"/>
      </a:defRPr>
    </a:lvl1pPr>
    <a:lvl2pPr marL="177800" indent="-177800" algn="l" defTabSz="609722" rtl="0" eaLnBrk="1" latinLnBrk="0" hangingPunct="1">
      <a:lnSpc>
        <a:spcPct val="120000"/>
      </a:lnSpc>
      <a:buFont typeface="Wingdings" panose="05000000000000000000" pitchFamily="2" charset="2"/>
      <a:buChar char=""/>
      <a:defRPr sz="1100" kern="1200">
        <a:solidFill>
          <a:schemeClr val="tx1"/>
        </a:solidFill>
        <a:latin typeface="+mn-lt"/>
        <a:ea typeface="+mn-ea"/>
        <a:cs typeface="+mn-cs"/>
        <a:sym typeface="Arial"/>
      </a:defRPr>
    </a:lvl2pPr>
    <a:lvl3pPr marL="357188" indent="-177800" algn="l" defTabSz="609722" rtl="0" eaLnBrk="1" latinLnBrk="0" hangingPunct="1">
      <a:lnSpc>
        <a:spcPct val="120000"/>
      </a:lnSpc>
      <a:buFont typeface="Wingdings" panose="05000000000000000000" pitchFamily="2" charset="2"/>
      <a:buChar char=""/>
      <a:defRPr sz="1100" kern="1200">
        <a:solidFill>
          <a:schemeClr val="tx1"/>
        </a:solidFill>
        <a:latin typeface="+mn-lt"/>
        <a:ea typeface="+mn-ea"/>
        <a:cs typeface="+mn-cs"/>
        <a:sym typeface="Arial"/>
      </a:defRPr>
    </a:lvl3pPr>
    <a:lvl4pPr marL="534988" indent="-177800" algn="l" defTabSz="609722" rtl="0" eaLnBrk="1" latinLnBrk="0" hangingPunct="1">
      <a:lnSpc>
        <a:spcPct val="120000"/>
      </a:lnSpc>
      <a:buFont typeface="Wingdings" panose="05000000000000000000" pitchFamily="2" charset="2"/>
      <a:buChar char=""/>
      <a:defRPr sz="1100" kern="1200">
        <a:solidFill>
          <a:schemeClr val="tx1"/>
        </a:solidFill>
        <a:latin typeface="+mn-lt"/>
        <a:ea typeface="+mn-ea"/>
        <a:cs typeface="+mn-cs"/>
        <a:sym typeface="Arial"/>
      </a:defRPr>
    </a:lvl4pPr>
    <a:lvl5pPr marL="534988" indent="-177800" algn="l" defTabSz="609722" rtl="0" eaLnBrk="1" latinLnBrk="0" hangingPunct="1">
      <a:lnSpc>
        <a:spcPct val="120000"/>
      </a:lnSpc>
      <a:buFont typeface="Wingdings" panose="05000000000000000000" pitchFamily="2" charset="2"/>
      <a:buChar char=""/>
      <a:defRPr sz="1100" kern="1200">
        <a:solidFill>
          <a:schemeClr val="tx1"/>
        </a:solidFill>
        <a:latin typeface="+mn-lt"/>
        <a:ea typeface="+mn-ea"/>
        <a:cs typeface="+mn-cs"/>
        <a:sym typeface="Arial"/>
      </a:defRPr>
    </a:lvl5pPr>
    <a:lvl6pPr marL="534988" indent="-177800" algn="l" defTabSz="609722" rtl="0" eaLnBrk="1" latinLnBrk="0" hangingPunct="1">
      <a:lnSpc>
        <a:spcPct val="120000"/>
      </a:lnSpc>
      <a:buFont typeface="Wingdings" panose="05000000000000000000" pitchFamily="2" charset="2"/>
      <a:buChar char=""/>
      <a:defRPr sz="1100" kern="1200">
        <a:solidFill>
          <a:schemeClr val="tx1"/>
        </a:solidFill>
        <a:latin typeface="+mn-lt"/>
        <a:ea typeface="+mn-ea"/>
        <a:cs typeface="+mn-cs"/>
      </a:defRPr>
    </a:lvl6pPr>
    <a:lvl7pPr marL="534988" indent="-177800" algn="l" defTabSz="609722" rtl="0" eaLnBrk="1" latinLnBrk="0" hangingPunct="1">
      <a:lnSpc>
        <a:spcPct val="120000"/>
      </a:lnSpc>
      <a:buFont typeface="Wingdings" panose="05000000000000000000" pitchFamily="2" charset="2"/>
      <a:buChar char=""/>
      <a:defRPr sz="1100" kern="1200">
        <a:solidFill>
          <a:schemeClr val="tx1"/>
        </a:solidFill>
        <a:latin typeface="+mn-lt"/>
        <a:ea typeface="+mn-ea"/>
        <a:cs typeface="+mn-cs"/>
      </a:defRPr>
    </a:lvl7pPr>
    <a:lvl8pPr marL="534988" indent="-177800" algn="l" defTabSz="609722" rtl="0" eaLnBrk="1" latinLnBrk="0" hangingPunct="1">
      <a:lnSpc>
        <a:spcPct val="120000"/>
      </a:lnSpc>
      <a:buFont typeface="Wingdings" panose="05000000000000000000" pitchFamily="2" charset="2"/>
      <a:buChar char=""/>
      <a:defRPr sz="1100" kern="1200">
        <a:solidFill>
          <a:schemeClr val="tx1"/>
        </a:solidFill>
        <a:latin typeface="+mn-lt"/>
        <a:ea typeface="+mn-ea"/>
        <a:cs typeface="+mn-cs"/>
      </a:defRPr>
    </a:lvl8pPr>
    <a:lvl9pPr marL="534988" indent="-177800" algn="l" defTabSz="609722" rtl="0" eaLnBrk="1" latinLnBrk="0" hangingPunct="1">
      <a:lnSpc>
        <a:spcPct val="120000"/>
      </a:lnSpc>
      <a:buFont typeface="Wingdings" panose="05000000000000000000" pitchFamily="2" charset="2"/>
      <a:buChar char=""/>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latin typeface="Arial"/>
            </a:endParaRPr>
          </a:p>
        </p:txBody>
      </p:sp>
      <p:sp>
        <p:nvSpPr>
          <p:cNvPr id="4" name="Slide Number Placeholder 3"/>
          <p:cNvSpPr>
            <a:spLocks noGrp="1"/>
          </p:cNvSpPr>
          <p:nvPr>
            <p:ph type="sldNum" sz="quarter" idx="10"/>
          </p:nvPr>
        </p:nvSpPr>
        <p:spPr/>
        <p:txBody>
          <a:bodyPr/>
          <a:lstStyle/>
          <a:p>
            <a:fld id="{F87A4B69-EC37-4945-805A-C13355A10099}" type="slidenum">
              <a:rPr lang="en-US" smtClean="0">
                <a:latin typeface="Arial"/>
              </a:rPr>
              <a:pPr/>
              <a:t>1</a:t>
            </a:fld>
            <a:endParaRPr lang="en-US" dirty="0">
              <a:latin typeface="Arial"/>
            </a:endParaRPr>
          </a:p>
        </p:txBody>
      </p:sp>
    </p:spTree>
    <p:extLst>
      <p:ext uri="{BB962C8B-B14F-4D97-AF65-F5344CB8AC3E}">
        <p14:creationId xmlns:p14="http://schemas.microsoft.com/office/powerpoint/2010/main" val="5582654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2.jpg"/></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3.jp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4.jp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5.jpg"/></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6.jpg"/></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7.jp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8.jp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7.vml"/><Relationship Id="rId6" Type="http://schemas.openxmlformats.org/officeDocument/2006/relationships/image" Target="../media/image19.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9.vml"/><Relationship Id="rId5" Type="http://schemas.openxmlformats.org/officeDocument/2006/relationships/image" Target="../media/image20.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0.vml"/><Relationship Id="rId5" Type="http://schemas.openxmlformats.org/officeDocument/2006/relationships/image" Target="../media/image20.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21.vml"/><Relationship Id="rId6" Type="http://schemas.openxmlformats.org/officeDocument/2006/relationships/image" Target="../media/image20.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2.vml"/><Relationship Id="rId5" Type="http://schemas.openxmlformats.org/officeDocument/2006/relationships/image" Target="../media/image20.emf"/><Relationship Id="rId4" Type="http://schemas.openxmlformats.org/officeDocument/2006/relationships/oleObject" Target="../embeddings/oleObject9.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6.jp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7.jp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8.jp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9.jpg"/></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0.jp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1.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55" name="Bildplatzhalter 54"/>
          <p:cNvSpPr>
            <a:spLocks noGrp="1"/>
          </p:cNvSpPr>
          <p:nvPr>
            <p:ph type="pic" sz="quarter" idx="15" hasCustomPrompt="1"/>
          </p:nvPr>
        </p:nvSpPr>
        <p:spPr bwMode="gray">
          <a:xfrm>
            <a:off x="0" y="1"/>
            <a:ext cx="12195175" cy="2927337"/>
          </a:xfrm>
          <a:prstGeom prst="rect">
            <a:avLst/>
          </a:prstGeom>
          <a:gradFill flip="none" rotWithShape="0">
            <a:gsLst>
              <a:gs pos="0">
                <a:srgbClr val="00A6DE"/>
              </a:gs>
              <a:gs pos="100000">
                <a:schemeClr val="accent1"/>
              </a:gs>
            </a:gsLst>
            <a:lin ang="2880000" scaled="0"/>
            <a:tileRect/>
          </a:gradFill>
          <a:ln>
            <a:noFill/>
          </a:ln>
        </p:spPr>
        <p:style>
          <a:lnRef idx="1">
            <a:schemeClr val="accent1"/>
          </a:lnRef>
          <a:fillRef idx="3">
            <a:schemeClr val="accent1"/>
          </a:fillRef>
          <a:effectRef idx="2">
            <a:schemeClr val="accent1"/>
          </a:effectRef>
          <a:fontRef idx="minor">
            <a:schemeClr val="lt1"/>
          </a:fontRef>
        </p:style>
        <p:txBody>
          <a:bodyPr wrap="square" lIns="121944" tIns="1008000" rIns="121944" bIns="60972" rtlCol="0" anchor="t">
            <a:noAutofit/>
          </a:bodyPr>
          <a:lstStyle>
            <a:lvl1pPr marL="0" indent="0" algn="ctr" defTabSz="609722">
              <a:lnSpc>
                <a:spcPct val="100000"/>
              </a:lnSpc>
              <a:spcBef>
                <a:spcPts val="0"/>
              </a:spcBef>
              <a:buNone/>
              <a:defRPr lang="de-DE" sz="1100" b="0" dirty="0">
                <a:solidFill>
                  <a:schemeClr val="accent1"/>
                </a:solidFill>
                <a:cs typeface="+mn-cs"/>
              </a:defRPr>
            </a:lvl1pPr>
          </a:lstStyle>
          <a:p>
            <a:pPr marL="0" lvl="0" algn="ctr" defTabSz="609722"/>
            <a:r>
              <a:rPr lang="en-US" noProof="0" dirty="0"/>
              <a:t>Set the wave in the background and paste a picture. Then reset the layout (Start/Reset).</a:t>
            </a:r>
          </a:p>
        </p:txBody>
      </p:sp>
      <p:sp>
        <p:nvSpPr>
          <p:cNvPr id="27" name="Textplatzhalter 26">
            <a:extLst>
              <a:ext uri="{FF2B5EF4-FFF2-40B4-BE49-F238E27FC236}">
                <a16:creationId xmlns:a16="http://schemas.microsoft.com/office/drawing/2014/main" id="{D8A20802-6A14-F2CF-D97F-2A7EB649A0DD}"/>
              </a:ext>
            </a:extLst>
          </p:cNvPr>
          <p:cNvSpPr>
            <a:spLocks noGrp="1"/>
          </p:cNvSpPr>
          <p:nvPr>
            <p:ph type="body" sz="quarter" idx="18" hasCustomPrompt="1"/>
          </p:nvPr>
        </p:nvSpPr>
        <p:spPr bwMode="gray">
          <a:xfrm>
            <a:off x="0" y="1449574"/>
            <a:ext cx="12196763" cy="4428492"/>
          </a:xfrm>
          <a:custGeom>
            <a:avLst/>
            <a:gdLst>
              <a:gd name="connsiteX0" fmla="*/ 12196763 w 12196763"/>
              <a:gd name="connsiteY0" fmla="*/ 0 h 4428492"/>
              <a:gd name="connsiteX1" fmla="*/ 12196763 w 12196763"/>
              <a:gd name="connsiteY1" fmla="*/ 3656013 h 4428492"/>
              <a:gd name="connsiteX2" fmla="*/ 12195176 w 12196763"/>
              <a:gd name="connsiteY2" fmla="*/ 3656013 h 4428492"/>
              <a:gd name="connsiteX3" fmla="*/ 12195176 w 12196763"/>
              <a:gd name="connsiteY3" fmla="*/ 4428492 h 4428492"/>
              <a:gd name="connsiteX4" fmla="*/ 0 w 12196763"/>
              <a:gd name="connsiteY4" fmla="*/ 4428492 h 4428492"/>
              <a:gd name="connsiteX5" fmla="*/ 0 w 12196763"/>
              <a:gd name="connsiteY5" fmla="*/ 3656013 h 4428492"/>
              <a:gd name="connsiteX6" fmla="*/ 0 w 12196763"/>
              <a:gd name="connsiteY6" fmla="*/ 1617224 h 4428492"/>
              <a:gd name="connsiteX7" fmla="*/ 0 w 12196763"/>
              <a:gd name="connsiteY7" fmla="*/ 899906 h 4428492"/>
              <a:gd name="connsiteX8" fmla="*/ 12196763 w 12196763"/>
              <a:gd name="connsiteY8" fmla="*/ 0 h 442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6763" h="4428492">
                <a:moveTo>
                  <a:pt x="12196763" y="0"/>
                </a:moveTo>
                <a:cubicBezTo>
                  <a:pt x="12196763" y="3656013"/>
                  <a:pt x="12196763" y="3656013"/>
                  <a:pt x="12196763" y="3656013"/>
                </a:cubicBezTo>
                <a:lnTo>
                  <a:pt x="12195176" y="3656013"/>
                </a:lnTo>
                <a:lnTo>
                  <a:pt x="12195176" y="4428492"/>
                </a:lnTo>
                <a:lnTo>
                  <a:pt x="0" y="4428492"/>
                </a:lnTo>
                <a:lnTo>
                  <a:pt x="0" y="3656013"/>
                </a:lnTo>
                <a:lnTo>
                  <a:pt x="0" y="1617224"/>
                </a:lnTo>
                <a:lnTo>
                  <a:pt x="0" y="899906"/>
                </a:lnTo>
                <a:cubicBezTo>
                  <a:pt x="137864" y="930386"/>
                  <a:pt x="7449219" y="2457408"/>
                  <a:pt x="12196763" y="0"/>
                </a:cubicBezTo>
                <a:close/>
              </a:path>
            </a:pathLst>
          </a:custGeom>
          <a:solidFill>
            <a:schemeClr val="bg1"/>
          </a:solidFill>
        </p:spPr>
        <p:txBody>
          <a:bodyPr wrap="square">
            <a:noAutofit/>
          </a:bodyPr>
          <a:lstStyle>
            <a:lvl1pPr marL="0" indent="0">
              <a:buNone/>
              <a:defRPr/>
            </a:lvl1pPr>
          </a:lstStyle>
          <a:p>
            <a:pPr lvl="0"/>
            <a:r>
              <a:rPr lang="en-US" noProof="0" dirty="0"/>
              <a:t> </a:t>
            </a:r>
          </a:p>
        </p:txBody>
      </p:sp>
      <p:sp>
        <p:nvSpPr>
          <p:cNvPr id="2" name="Titel 1"/>
          <p:cNvSpPr>
            <a:spLocks noGrp="1"/>
          </p:cNvSpPr>
          <p:nvPr>
            <p:ph type="ctrTitle" hasCustomPrompt="1"/>
          </p:nvPr>
        </p:nvSpPr>
        <p:spPr bwMode="gray">
          <a:xfrm>
            <a:off x="480963" y="4046413"/>
            <a:ext cx="11233200" cy="823541"/>
          </a:xfrm>
        </p:spPr>
        <p:txBody>
          <a:bodyPr/>
          <a:lstStyle>
            <a:lvl1pPr>
              <a:lnSpc>
                <a:spcPct val="90000"/>
              </a:lnSpc>
              <a:defRPr>
                <a:gradFill>
                  <a:gsLst>
                    <a:gs pos="0">
                      <a:schemeClr val="accent2"/>
                    </a:gs>
                    <a:gs pos="100000">
                      <a:schemeClr val="accent1"/>
                    </a:gs>
                  </a:gsLst>
                  <a:lin ang="0" scaled="1"/>
                </a:gradFill>
              </a:defRPr>
            </a:lvl1pPr>
          </a:lstStyle>
          <a:p>
            <a:pPr lvl="0"/>
            <a:r>
              <a:rPr lang="en-US" noProof="0" dirty="0"/>
              <a:t>Headline in maximum 2 lines, </a:t>
            </a:r>
            <a:br>
              <a:rPr lang="en-US" noProof="0" dirty="0"/>
            </a:br>
            <a:r>
              <a:rPr lang="en-US" noProof="0" dirty="0"/>
              <a:t>Arial bold 24pt, blue gradient, line spacing 0.9</a:t>
            </a:r>
          </a:p>
        </p:txBody>
      </p:sp>
      <p:sp>
        <p:nvSpPr>
          <p:cNvPr id="3" name="Untertitel 2"/>
          <p:cNvSpPr>
            <a:spLocks noGrp="1"/>
          </p:cNvSpPr>
          <p:nvPr>
            <p:ph type="subTitle" idx="1" hasCustomPrompt="1"/>
          </p:nvPr>
        </p:nvSpPr>
        <p:spPr bwMode="gray">
          <a:xfrm>
            <a:off x="480963" y="5013970"/>
            <a:ext cx="11233200" cy="862955"/>
          </a:xfrm>
          <a:prstGeom prst="rect">
            <a:avLst/>
          </a:prstGeom>
        </p:spPr>
        <p:txBody>
          <a:bodyPr/>
          <a:lstStyle>
            <a:lvl1pPr marL="0" indent="0" algn="l">
              <a:lnSpc>
                <a:spcPct val="120000"/>
              </a:lnSpc>
              <a:spcBef>
                <a:spcPts val="0"/>
              </a:spcBef>
              <a:buNone/>
              <a:defRPr sz="1600" b="0">
                <a:solidFill>
                  <a:schemeClr val="tx1"/>
                </a:solidFill>
              </a:defRPr>
            </a:lvl1pPr>
            <a:lvl2pPr marL="0" indent="0" algn="l">
              <a:lnSpc>
                <a:spcPct val="90000"/>
              </a:lnSpc>
              <a:spcBef>
                <a:spcPts val="0"/>
              </a:spcBef>
              <a:buNone/>
              <a:defRPr sz="1600" b="0">
                <a:solidFill>
                  <a:schemeClr val="tx1"/>
                </a:solidFill>
              </a:defRPr>
            </a:lvl2pPr>
            <a:lvl3pPr marL="0" indent="0" algn="l">
              <a:lnSpc>
                <a:spcPct val="90000"/>
              </a:lnSpc>
              <a:spcBef>
                <a:spcPts val="0"/>
              </a:spcBef>
              <a:buNone/>
              <a:defRPr sz="1600" b="0">
                <a:solidFill>
                  <a:schemeClr val="tx1"/>
                </a:solidFill>
              </a:defRPr>
            </a:lvl3pPr>
            <a:lvl4pPr marL="0" indent="0" algn="l">
              <a:lnSpc>
                <a:spcPct val="90000"/>
              </a:lnSpc>
              <a:spcBef>
                <a:spcPts val="0"/>
              </a:spcBef>
              <a:buNone/>
              <a:defRPr sz="1600" b="0">
                <a:solidFill>
                  <a:schemeClr val="tx1"/>
                </a:solidFill>
              </a:defRPr>
            </a:lvl4pPr>
            <a:lvl5pPr marL="0" indent="0" algn="l">
              <a:lnSpc>
                <a:spcPct val="90000"/>
              </a:lnSpc>
              <a:spcBef>
                <a:spcPts val="0"/>
              </a:spcBef>
              <a:buNone/>
              <a:defRPr sz="1600" b="0">
                <a:solidFill>
                  <a:schemeClr val="tx1"/>
                </a:solidFill>
              </a:defRPr>
            </a:lvl5pPr>
            <a:lvl6pPr marL="0" indent="0" algn="l">
              <a:lnSpc>
                <a:spcPct val="90000"/>
              </a:lnSpc>
              <a:spcBef>
                <a:spcPts val="0"/>
              </a:spcBef>
              <a:buNone/>
              <a:defRPr sz="1600" b="0">
                <a:solidFill>
                  <a:schemeClr val="tx1"/>
                </a:solidFill>
              </a:defRPr>
            </a:lvl6pPr>
            <a:lvl7pPr marL="0" indent="0" algn="l">
              <a:lnSpc>
                <a:spcPct val="90000"/>
              </a:lnSpc>
              <a:spcBef>
                <a:spcPts val="0"/>
              </a:spcBef>
              <a:buNone/>
              <a:defRPr sz="1600" b="0">
                <a:solidFill>
                  <a:schemeClr val="tx1"/>
                </a:solidFill>
              </a:defRPr>
            </a:lvl7pPr>
            <a:lvl8pPr marL="0" indent="0" algn="l">
              <a:lnSpc>
                <a:spcPct val="90000"/>
              </a:lnSpc>
              <a:spcBef>
                <a:spcPts val="0"/>
              </a:spcBef>
              <a:buNone/>
              <a:defRPr sz="1600" b="0">
                <a:solidFill>
                  <a:schemeClr val="tx1"/>
                </a:solidFill>
              </a:defRPr>
            </a:lvl8pPr>
            <a:lvl9pPr marL="0" indent="0" algn="l">
              <a:lnSpc>
                <a:spcPct val="90000"/>
              </a:lnSpc>
              <a:spcBef>
                <a:spcPts val="0"/>
              </a:spcBef>
              <a:buNone/>
              <a:defRPr sz="1600" b="0">
                <a:solidFill>
                  <a:schemeClr val="tx1"/>
                </a:solidFill>
              </a:defRPr>
            </a:lvl9pPr>
          </a:lstStyle>
          <a:p>
            <a:pPr lvl="0"/>
            <a:r>
              <a:rPr lang="en-US" noProof="0" dirty="0"/>
              <a:t>Place of presentation, date</a:t>
            </a:r>
            <a:br>
              <a:rPr lang="en-US" noProof="0" dirty="0"/>
            </a:br>
            <a:r>
              <a:rPr lang="en-US" noProof="0" dirty="0"/>
              <a:t>Author with title, first name, last name</a:t>
            </a:r>
          </a:p>
        </p:txBody>
      </p:sp>
      <p:sp>
        <p:nvSpPr>
          <p:cNvPr id="8" name="Textplatzhalter 39"/>
          <p:cNvSpPr>
            <a:spLocks noGrp="1"/>
          </p:cNvSpPr>
          <p:nvPr>
            <p:ph type="body" sz="quarter" idx="12" hasCustomPrompt="1"/>
          </p:nvPr>
        </p:nvSpPr>
        <p:spPr bwMode="gray">
          <a:xfrm>
            <a:off x="481013" y="3065657"/>
            <a:ext cx="11233150" cy="738664"/>
          </a:xfrm>
          <a:prstGeom prst="rect">
            <a:avLst/>
          </a:prstGeom>
        </p:spPr>
        <p:txBody>
          <a:bodyPr vert="horz" wrap="square" tIns="0" bIns="0" anchor="b" anchorCtr="0">
            <a:spAutoFit/>
          </a:bodyPr>
          <a:lstStyle>
            <a:lvl1pPr marL="0" indent="0">
              <a:lnSpc>
                <a:spcPct val="100000"/>
              </a:lnSpc>
              <a:spcBef>
                <a:spcPts val="0"/>
              </a:spcBef>
              <a:buFont typeface="Arial" panose="020B0604020202020204" pitchFamily="34" charset="0"/>
              <a:buNone/>
              <a:defRPr sz="2400" b="0" cap="all" baseline="0">
                <a:solidFill>
                  <a:schemeClr val="accent1"/>
                </a:solidFill>
                <a:latin typeface="+mn-lt"/>
              </a:defRPr>
            </a:lvl1pPr>
            <a:lvl2pPr marL="0" indent="0">
              <a:lnSpc>
                <a:spcPct val="100000"/>
              </a:lnSpc>
              <a:spcBef>
                <a:spcPts val="0"/>
              </a:spcBef>
              <a:buNone/>
              <a:defRPr sz="2400" b="0" cap="all">
                <a:solidFill>
                  <a:schemeClr val="accent1"/>
                </a:solidFill>
              </a:defRPr>
            </a:lvl2pPr>
            <a:lvl3pPr marL="0" indent="0">
              <a:lnSpc>
                <a:spcPct val="100000"/>
              </a:lnSpc>
              <a:spcBef>
                <a:spcPts val="0"/>
              </a:spcBef>
              <a:buNone/>
              <a:defRPr sz="2400" b="0" cap="all">
                <a:solidFill>
                  <a:schemeClr val="accent1"/>
                </a:solidFill>
              </a:defRPr>
            </a:lvl3pPr>
            <a:lvl4pPr marL="0" indent="0">
              <a:lnSpc>
                <a:spcPct val="100000"/>
              </a:lnSpc>
              <a:spcBef>
                <a:spcPts val="0"/>
              </a:spcBef>
              <a:buNone/>
              <a:defRPr sz="2400" b="0" cap="all">
                <a:solidFill>
                  <a:schemeClr val="accent1"/>
                </a:solidFill>
              </a:defRPr>
            </a:lvl4pPr>
            <a:lvl5pPr marL="0" indent="0">
              <a:lnSpc>
                <a:spcPct val="100000"/>
              </a:lnSpc>
              <a:spcBef>
                <a:spcPts val="0"/>
              </a:spcBef>
              <a:buNone/>
              <a:defRPr sz="2400" b="0" cap="all">
                <a:solidFill>
                  <a:schemeClr val="accent1"/>
                </a:solidFill>
              </a:defRPr>
            </a:lvl5pPr>
            <a:lvl6pPr marL="0" indent="0">
              <a:lnSpc>
                <a:spcPct val="100000"/>
              </a:lnSpc>
              <a:spcBef>
                <a:spcPts val="0"/>
              </a:spcBef>
              <a:buNone/>
              <a:defRPr sz="2400" b="0" cap="all">
                <a:solidFill>
                  <a:schemeClr val="accent1"/>
                </a:solidFill>
              </a:defRPr>
            </a:lvl6pPr>
            <a:lvl7pPr marL="0" indent="0">
              <a:lnSpc>
                <a:spcPct val="100000"/>
              </a:lnSpc>
              <a:spcBef>
                <a:spcPts val="0"/>
              </a:spcBef>
              <a:buNone/>
              <a:defRPr sz="2400" b="0" cap="all">
                <a:solidFill>
                  <a:schemeClr val="accent1"/>
                </a:solidFill>
              </a:defRPr>
            </a:lvl7pPr>
            <a:lvl8pPr marL="0" indent="0">
              <a:lnSpc>
                <a:spcPct val="100000"/>
              </a:lnSpc>
              <a:spcBef>
                <a:spcPts val="0"/>
              </a:spcBef>
              <a:buNone/>
              <a:defRPr sz="2400" b="0" cap="all">
                <a:solidFill>
                  <a:schemeClr val="accent1"/>
                </a:solidFill>
              </a:defRPr>
            </a:lvl8pPr>
            <a:lvl9pPr marL="0" indent="0">
              <a:lnSpc>
                <a:spcPct val="100000"/>
              </a:lnSpc>
              <a:spcBef>
                <a:spcPts val="0"/>
              </a:spcBef>
              <a:buNone/>
              <a:defRPr sz="2400" b="0" cap="all">
                <a:solidFill>
                  <a:schemeClr val="accent1"/>
                </a:solidFill>
              </a:defRPr>
            </a:lvl9pPr>
          </a:lstStyle>
          <a:p>
            <a:pPr lvl="0"/>
            <a:r>
              <a:rPr lang="en-US" noProof="0" dirty="0"/>
              <a:t>FREUDENBERG </a:t>
            </a:r>
            <a:br>
              <a:rPr lang="en-US" noProof="0" dirty="0"/>
            </a:br>
            <a:r>
              <a:rPr lang="en-US" noProof="0" dirty="0"/>
              <a:t>Performance materials</a:t>
            </a:r>
          </a:p>
        </p:txBody>
      </p:sp>
      <p:grpSp>
        <p:nvGrpSpPr>
          <p:cNvPr id="10" name="Gruppieren 9">
            <a:extLst>
              <a:ext uri="{FF2B5EF4-FFF2-40B4-BE49-F238E27FC236}">
                <a16:creationId xmlns:a16="http://schemas.microsoft.com/office/drawing/2014/main" id="{1FEBA3AB-FA8C-497E-9CAA-AFB739B3E111}"/>
              </a:ext>
            </a:extLst>
          </p:cNvPr>
          <p:cNvGrpSpPr/>
          <p:nvPr userDrawn="1"/>
        </p:nvGrpSpPr>
        <p:grpSpPr bwMode="gray">
          <a:xfrm>
            <a:off x="480963" y="-170598"/>
            <a:ext cx="11233248" cy="72000"/>
            <a:chOff x="480963" y="-170598"/>
            <a:chExt cx="11233248" cy="72000"/>
          </a:xfrm>
        </p:grpSpPr>
        <p:cxnSp>
          <p:nvCxnSpPr>
            <p:cNvPr id="11" name="Gerade Verbindung 11">
              <a:extLst>
                <a:ext uri="{FF2B5EF4-FFF2-40B4-BE49-F238E27FC236}">
                  <a16:creationId xmlns:a16="http://schemas.microsoft.com/office/drawing/2014/main" id="{C18FCDF5-68B2-4FFB-9B1C-FBCED3107F21}"/>
                </a:ext>
              </a:extLst>
            </p:cNvPr>
            <p:cNvCxnSpPr/>
            <p:nvPr/>
          </p:nvCxnSpPr>
          <p:spPr bwMode="gray">
            <a:xfrm>
              <a:off x="480963"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2" name="Gerade Verbindung 12">
              <a:extLst>
                <a:ext uri="{FF2B5EF4-FFF2-40B4-BE49-F238E27FC236}">
                  <a16:creationId xmlns:a16="http://schemas.microsoft.com/office/drawing/2014/main" id="{864FDBB1-D3A5-4A5A-A375-64E67F769616}"/>
                </a:ext>
              </a:extLst>
            </p:cNvPr>
            <p:cNvCxnSpPr/>
            <p:nvPr/>
          </p:nvCxnSpPr>
          <p:spPr bwMode="gray">
            <a:xfrm>
              <a:off x="2929235"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3">
              <a:extLst>
                <a:ext uri="{FF2B5EF4-FFF2-40B4-BE49-F238E27FC236}">
                  <a16:creationId xmlns:a16="http://schemas.microsoft.com/office/drawing/2014/main" id="{A3F4F22B-E4A9-4F26-A040-6ED2745A8A95}"/>
                </a:ext>
              </a:extLst>
            </p:cNvPr>
            <p:cNvCxnSpPr/>
            <p:nvPr/>
          </p:nvCxnSpPr>
          <p:spPr bwMode="gray">
            <a:xfrm>
              <a:off x="3433291"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5">
              <a:extLst>
                <a:ext uri="{FF2B5EF4-FFF2-40B4-BE49-F238E27FC236}">
                  <a16:creationId xmlns:a16="http://schemas.microsoft.com/office/drawing/2014/main" id="{33B4BCC0-7BE9-4CF5-9024-2BA9B494E3D2}"/>
                </a:ext>
              </a:extLst>
            </p:cNvPr>
            <p:cNvCxnSpPr/>
            <p:nvPr/>
          </p:nvCxnSpPr>
          <p:spPr bwMode="gray">
            <a:xfrm>
              <a:off x="3937347"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5" name="Gerade Verbindung 16">
              <a:extLst>
                <a:ext uri="{FF2B5EF4-FFF2-40B4-BE49-F238E27FC236}">
                  <a16:creationId xmlns:a16="http://schemas.microsoft.com/office/drawing/2014/main" id="{D3408C1D-4EB7-4A3F-A2B4-4EB77E95019D}"/>
                </a:ext>
              </a:extLst>
            </p:cNvPr>
            <p:cNvCxnSpPr/>
            <p:nvPr/>
          </p:nvCxnSpPr>
          <p:spPr bwMode="gray">
            <a:xfrm>
              <a:off x="4368998"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7">
              <a:extLst>
                <a:ext uri="{FF2B5EF4-FFF2-40B4-BE49-F238E27FC236}">
                  <a16:creationId xmlns:a16="http://schemas.microsoft.com/office/drawing/2014/main" id="{FA7C8960-D074-4121-98AD-7329D2F616B1}"/>
                </a:ext>
              </a:extLst>
            </p:cNvPr>
            <p:cNvCxnSpPr/>
            <p:nvPr/>
          </p:nvCxnSpPr>
          <p:spPr bwMode="gray">
            <a:xfrm>
              <a:off x="5881563"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Gerade Verbindung 18">
              <a:extLst>
                <a:ext uri="{FF2B5EF4-FFF2-40B4-BE49-F238E27FC236}">
                  <a16:creationId xmlns:a16="http://schemas.microsoft.com/office/drawing/2014/main" id="{E039B595-5B01-4C64-BA0D-096C4DD0240C}"/>
                </a:ext>
              </a:extLst>
            </p:cNvPr>
            <p:cNvCxnSpPr/>
            <p:nvPr/>
          </p:nvCxnSpPr>
          <p:spPr bwMode="gray">
            <a:xfrm>
              <a:off x="6313611"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8" name="Gerade Verbindung 19">
              <a:extLst>
                <a:ext uri="{FF2B5EF4-FFF2-40B4-BE49-F238E27FC236}">
                  <a16:creationId xmlns:a16="http://schemas.microsoft.com/office/drawing/2014/main" id="{E0C3920E-9AEE-46F6-B14A-B708A2BCB387}"/>
                </a:ext>
              </a:extLst>
            </p:cNvPr>
            <p:cNvCxnSpPr/>
            <p:nvPr/>
          </p:nvCxnSpPr>
          <p:spPr bwMode="gray">
            <a:xfrm>
              <a:off x="7825779"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9" name="Gerade Verbindung 20">
              <a:extLst>
                <a:ext uri="{FF2B5EF4-FFF2-40B4-BE49-F238E27FC236}">
                  <a16:creationId xmlns:a16="http://schemas.microsoft.com/office/drawing/2014/main" id="{F5478084-BB84-4500-B09A-3E144E263214}"/>
                </a:ext>
              </a:extLst>
            </p:cNvPr>
            <p:cNvCxnSpPr/>
            <p:nvPr/>
          </p:nvCxnSpPr>
          <p:spPr bwMode="gray">
            <a:xfrm>
              <a:off x="8257827"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0" name="Gerade Verbindung 21">
              <a:extLst>
                <a:ext uri="{FF2B5EF4-FFF2-40B4-BE49-F238E27FC236}">
                  <a16:creationId xmlns:a16="http://schemas.microsoft.com/office/drawing/2014/main" id="{5844CB5C-E899-467D-A280-450087A53EEA}"/>
                </a:ext>
              </a:extLst>
            </p:cNvPr>
            <p:cNvCxnSpPr/>
            <p:nvPr/>
          </p:nvCxnSpPr>
          <p:spPr bwMode="gray">
            <a:xfrm>
              <a:off x="8761883"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2">
              <a:extLst>
                <a:ext uri="{FF2B5EF4-FFF2-40B4-BE49-F238E27FC236}">
                  <a16:creationId xmlns:a16="http://schemas.microsoft.com/office/drawing/2014/main" id="{24FAC7CA-F588-449E-AF5C-5D3B50489954}"/>
                </a:ext>
              </a:extLst>
            </p:cNvPr>
            <p:cNvCxnSpPr/>
            <p:nvPr/>
          </p:nvCxnSpPr>
          <p:spPr bwMode="gray">
            <a:xfrm>
              <a:off x="9265939"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3">
              <a:extLst>
                <a:ext uri="{FF2B5EF4-FFF2-40B4-BE49-F238E27FC236}">
                  <a16:creationId xmlns:a16="http://schemas.microsoft.com/office/drawing/2014/main" id="{C4442983-0792-4C97-8286-4606D592BB59}"/>
                </a:ext>
              </a:extLst>
            </p:cNvPr>
            <p:cNvCxnSpPr/>
            <p:nvPr/>
          </p:nvCxnSpPr>
          <p:spPr bwMode="gray">
            <a:xfrm>
              <a:off x="11714211"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23" name="Gruppieren 22">
            <a:extLst>
              <a:ext uri="{FF2B5EF4-FFF2-40B4-BE49-F238E27FC236}">
                <a16:creationId xmlns:a16="http://schemas.microsoft.com/office/drawing/2014/main" id="{0746D251-C629-4949-A9BE-B158E78F0075}"/>
              </a:ext>
            </a:extLst>
          </p:cNvPr>
          <p:cNvGrpSpPr/>
          <p:nvPr userDrawn="1"/>
        </p:nvGrpSpPr>
        <p:grpSpPr bwMode="gray">
          <a:xfrm>
            <a:off x="-167109" y="1413570"/>
            <a:ext cx="72000" cy="4680520"/>
            <a:chOff x="-167109" y="1413570"/>
            <a:chExt cx="72000" cy="4680520"/>
          </a:xfrm>
        </p:grpSpPr>
        <p:cxnSp>
          <p:nvCxnSpPr>
            <p:cNvPr id="24" name="Gerade Verbindung 24">
              <a:extLst>
                <a:ext uri="{FF2B5EF4-FFF2-40B4-BE49-F238E27FC236}">
                  <a16:creationId xmlns:a16="http://schemas.microsoft.com/office/drawing/2014/main" id="{B852B1B0-BBC1-4EE2-8319-AD866421A828}"/>
                </a:ext>
              </a:extLst>
            </p:cNvPr>
            <p:cNvCxnSpPr/>
            <p:nvPr/>
          </p:nvCxnSpPr>
          <p:spPr bwMode="gray">
            <a:xfrm rot="5400000">
              <a:off x="-131109" y="1377570"/>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5">
              <a:extLst>
                <a:ext uri="{FF2B5EF4-FFF2-40B4-BE49-F238E27FC236}">
                  <a16:creationId xmlns:a16="http://schemas.microsoft.com/office/drawing/2014/main" id="{86676675-446B-4A4C-8610-255DE4417A2A}"/>
                </a:ext>
              </a:extLst>
            </p:cNvPr>
            <p:cNvCxnSpPr/>
            <p:nvPr/>
          </p:nvCxnSpPr>
          <p:spPr bwMode="gray">
            <a:xfrm rot="5400000">
              <a:off x="-131109" y="6058090"/>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26" name="Grafik 25">
            <a:extLst>
              <a:ext uri="{FF2B5EF4-FFF2-40B4-BE49-F238E27FC236}">
                <a16:creationId xmlns:a16="http://schemas.microsoft.com/office/drawing/2014/main" id="{9BD2EC71-FBF3-4061-A3F0-2B3CACCF8FF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8438211" y="6058086"/>
            <a:ext cx="3276000" cy="574737"/>
          </a:xfrm>
          <a:prstGeom prst="rect">
            <a:avLst/>
          </a:prstGeom>
        </p:spPr>
      </p:pic>
    </p:spTree>
    <p:extLst>
      <p:ext uri="{BB962C8B-B14F-4D97-AF65-F5344CB8AC3E}">
        <p14:creationId xmlns:p14="http://schemas.microsoft.com/office/powerpoint/2010/main" val="3164568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Filter Media">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167B6C5-134D-4DFA-B63D-39DDFAC223F0}"/>
              </a:ext>
            </a:extLst>
          </p:cNvPr>
          <p:cNvPicPr>
            <a:picLocks noChangeAspect="1"/>
          </p:cNvPicPr>
          <p:nvPr userDrawn="1"/>
        </p:nvPicPr>
        <p:blipFill>
          <a:blip r:embed="rId4"/>
          <a:stretch>
            <a:fillRect/>
          </a:stretch>
        </p:blipFill>
        <p:spPr bwMode="gray">
          <a:xfrm>
            <a:off x="812" y="-42"/>
            <a:ext cx="12195175" cy="5940085"/>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10242" name="think-cell Folie" r:id="rId5" imgW="6350000" imgH="6350000" progId="TCLayout.ActiveDocument.1">
                  <p:embed/>
                </p:oleObj>
              </mc:Choice>
              <mc:Fallback>
                <p:oleObj name="think-cell Folie" r:id="rId5" imgW="6350000" imgH="635000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platzhalter 37"/>
          <p:cNvSpPr>
            <a:spLocks noGrp="1"/>
          </p:cNvSpPr>
          <p:nvPr>
            <p:ph type="body" sz="quarter" idx="14" hasCustomPrompt="1"/>
          </p:nvPr>
        </p:nvSpPr>
        <p:spPr bwMode="gray">
          <a:xfrm>
            <a:off x="624979" y="513470"/>
            <a:ext cx="7345362" cy="1439839"/>
          </a:xfrm>
          <a:prstGeom prst="rect">
            <a:avLst/>
          </a:prstGeom>
        </p:spPr>
        <p:txBody>
          <a:bodyPr vert="horz"/>
          <a:lstStyle>
            <a:lvl1pPr marL="0" indent="0">
              <a:lnSpc>
                <a:spcPct val="100000"/>
              </a:lnSpc>
              <a:buFontTx/>
              <a:buNone/>
              <a:defRPr sz="4000" b="1" i="0" baseline="0">
                <a:solidFill>
                  <a:schemeClr val="bg2"/>
                </a:solidFill>
                <a:effectLst/>
                <a:latin typeface="+mj-lt"/>
              </a:defRPr>
            </a:lvl1pPr>
          </a:lstStyle>
          <a:p>
            <a:pPr lvl="0"/>
            <a:r>
              <a:rPr lang="en-US" noProof="0" dirty="0"/>
              <a:t>Filter Media</a:t>
            </a:r>
          </a:p>
        </p:txBody>
      </p:sp>
      <p:sp>
        <p:nvSpPr>
          <p:cNvPr id="5" name="Date Placeholder 4"/>
          <p:cNvSpPr>
            <a:spLocks noGrp="1"/>
          </p:cNvSpPr>
          <p:nvPr>
            <p:ph type="dt" sz="half" idx="15"/>
          </p:nvPr>
        </p:nvSpPr>
        <p:spPr bwMode="gray"/>
        <p:txBody>
          <a:bodyPr/>
          <a:lstStyle/>
          <a:p>
            <a:fld id="{E1DBA4A6-46A6-46AB-8FA7-458D1D9BAA4C}" type="datetime1">
              <a:rPr lang="en-US" altLang="zh-CN" noProof="0" smtClean="0"/>
              <a:t>11/19/2023</a:t>
            </a:fld>
            <a:endParaRPr lang="en-US" noProof="0" dirty="0"/>
          </a:p>
        </p:txBody>
      </p:sp>
      <p:sp>
        <p:nvSpPr>
          <p:cNvPr id="6" name="Footer Placeholder 5"/>
          <p:cNvSpPr>
            <a:spLocks noGrp="1"/>
          </p:cNvSpPr>
          <p:nvPr>
            <p:ph type="ftr" sz="quarter" idx="16"/>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7"/>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10" name="Textplatzhalter 9">
            <a:extLst>
              <a:ext uri="{FF2B5EF4-FFF2-40B4-BE49-F238E27FC236}">
                <a16:creationId xmlns:a16="http://schemas.microsoft.com/office/drawing/2014/main" id="{91493DF2-D232-43F5-D365-27D7C64C8522}"/>
              </a:ext>
            </a:extLst>
          </p:cNvPr>
          <p:cNvSpPr>
            <a:spLocks noGrp="1"/>
          </p:cNvSpPr>
          <p:nvPr>
            <p:ph type="body" sz="quarter" idx="19" hasCustomPrompt="1"/>
          </p:nvPr>
        </p:nvSpPr>
        <p:spPr bwMode="gray">
          <a:xfrm>
            <a:off x="0" y="4330662"/>
            <a:ext cx="12195176" cy="1765339"/>
          </a:xfrm>
          <a:custGeom>
            <a:avLst/>
            <a:gdLst>
              <a:gd name="connsiteX0" fmla="*/ 12195176 w 12195176"/>
              <a:gd name="connsiteY0" fmla="*/ 0 h 1765339"/>
              <a:gd name="connsiteX1" fmla="*/ 12195176 w 12195176"/>
              <a:gd name="connsiteY1" fmla="*/ 1765339 h 1765339"/>
              <a:gd name="connsiteX2" fmla="*/ 0 w 12195176"/>
              <a:gd name="connsiteY2" fmla="*/ 1765339 h 1765339"/>
              <a:gd name="connsiteX3" fmla="*/ 0 w 12195176"/>
              <a:gd name="connsiteY3" fmla="*/ 1616456 h 1765339"/>
              <a:gd name="connsiteX4" fmla="*/ 0 w 12195176"/>
              <a:gd name="connsiteY4" fmla="*/ 899138 h 1765339"/>
              <a:gd name="connsiteX5" fmla="*/ 11744467 w 12195176"/>
              <a:gd name="connsiteY5" fmla="*/ 218109 h 176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5176" h="1765339">
                <a:moveTo>
                  <a:pt x="12195176" y="0"/>
                </a:moveTo>
                <a:lnTo>
                  <a:pt x="12195176" y="1765339"/>
                </a:lnTo>
                <a:lnTo>
                  <a:pt x="0" y="1765339"/>
                </a:lnTo>
                <a:lnTo>
                  <a:pt x="0" y="1616456"/>
                </a:lnTo>
                <a:lnTo>
                  <a:pt x="0" y="899138"/>
                </a:lnTo>
                <a:cubicBezTo>
                  <a:pt x="133556" y="928666"/>
                  <a:pt x="6999265" y="2362663"/>
                  <a:pt x="11744467" y="218109"/>
                </a:cubicBezTo>
                <a:close/>
              </a:path>
            </a:pathLst>
          </a:custGeom>
          <a:solidFill>
            <a:schemeClr val="bg1"/>
          </a:solidFill>
        </p:spPr>
        <p:txBody>
          <a:bodyPr wrap="square">
            <a:noAutofit/>
          </a:bodyPr>
          <a:lstStyle>
            <a:lvl1pPr marL="0" indent="0">
              <a:buNone/>
              <a:defRPr/>
            </a:lvl1pPr>
          </a:lstStyle>
          <a:p>
            <a:pPr lvl="0"/>
            <a:r>
              <a:rPr lang="en-US" noProof="0" dirty="0"/>
              <a:t> </a:t>
            </a:r>
          </a:p>
        </p:txBody>
      </p:sp>
    </p:spTree>
    <p:extLst>
      <p:ext uri="{BB962C8B-B14F-4D97-AF65-F5344CB8AC3E}">
        <p14:creationId xmlns:p14="http://schemas.microsoft.com/office/powerpoint/2010/main" val="359652246"/>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 FCC">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167B6C5-134D-4DFA-B63D-39DDFAC223F0}"/>
              </a:ext>
            </a:extLst>
          </p:cNvPr>
          <p:cNvPicPr>
            <a:picLocks noChangeAspect="1"/>
          </p:cNvPicPr>
          <p:nvPr userDrawn="1"/>
        </p:nvPicPr>
        <p:blipFill>
          <a:blip r:embed="rId4"/>
          <a:stretch>
            <a:fillRect/>
          </a:stretch>
        </p:blipFill>
        <p:spPr bwMode="gray">
          <a:xfrm>
            <a:off x="812" y="-42"/>
            <a:ext cx="12195175" cy="5940085"/>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11266" name="think-cell Folie" r:id="rId5" imgW="6350000" imgH="6350000" progId="TCLayout.ActiveDocument.1">
                  <p:embed/>
                </p:oleObj>
              </mc:Choice>
              <mc:Fallback>
                <p:oleObj name="think-cell Folie" r:id="rId5" imgW="6350000" imgH="635000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platzhalter 37"/>
          <p:cNvSpPr>
            <a:spLocks noGrp="1"/>
          </p:cNvSpPr>
          <p:nvPr>
            <p:ph type="body" sz="quarter" idx="14" hasCustomPrompt="1"/>
          </p:nvPr>
        </p:nvSpPr>
        <p:spPr bwMode="gray">
          <a:xfrm>
            <a:off x="481013" y="2854051"/>
            <a:ext cx="7345362" cy="1439839"/>
          </a:xfrm>
          <a:prstGeom prst="rect">
            <a:avLst/>
          </a:prstGeom>
        </p:spPr>
        <p:txBody>
          <a:bodyPr vert="horz"/>
          <a:lstStyle>
            <a:lvl1pPr marL="0" indent="0">
              <a:lnSpc>
                <a:spcPct val="100000"/>
              </a:lnSpc>
              <a:buFontTx/>
              <a:buNone/>
              <a:defRPr sz="4000" b="1" i="0" baseline="0">
                <a:solidFill>
                  <a:schemeClr val="bg2"/>
                </a:solidFill>
                <a:effectLst/>
                <a:latin typeface="+mj-lt"/>
              </a:defRPr>
            </a:lvl1pPr>
          </a:lstStyle>
          <a:p>
            <a:pPr lvl="0"/>
            <a:r>
              <a:rPr lang="en-US" noProof="0" dirty="0"/>
              <a:t>Fuel Cell Components</a:t>
            </a:r>
          </a:p>
        </p:txBody>
      </p:sp>
      <p:sp>
        <p:nvSpPr>
          <p:cNvPr id="5" name="Date Placeholder 4"/>
          <p:cNvSpPr>
            <a:spLocks noGrp="1"/>
          </p:cNvSpPr>
          <p:nvPr>
            <p:ph type="dt" sz="half" idx="15"/>
          </p:nvPr>
        </p:nvSpPr>
        <p:spPr bwMode="gray"/>
        <p:txBody>
          <a:bodyPr/>
          <a:lstStyle/>
          <a:p>
            <a:fld id="{50A1A984-DCE9-49F8-A81A-4C83ACF8707F}" type="datetime1">
              <a:rPr lang="en-US" altLang="zh-CN" noProof="0" smtClean="0"/>
              <a:t>11/19/2023</a:t>
            </a:fld>
            <a:endParaRPr lang="en-US" noProof="0" dirty="0"/>
          </a:p>
        </p:txBody>
      </p:sp>
      <p:sp>
        <p:nvSpPr>
          <p:cNvPr id="6" name="Footer Placeholder 5"/>
          <p:cNvSpPr>
            <a:spLocks noGrp="1"/>
          </p:cNvSpPr>
          <p:nvPr>
            <p:ph type="ftr" sz="quarter" idx="16"/>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7"/>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10" name="Textplatzhalter 9">
            <a:extLst>
              <a:ext uri="{FF2B5EF4-FFF2-40B4-BE49-F238E27FC236}">
                <a16:creationId xmlns:a16="http://schemas.microsoft.com/office/drawing/2014/main" id="{91493DF2-D232-43F5-D365-27D7C64C8522}"/>
              </a:ext>
            </a:extLst>
          </p:cNvPr>
          <p:cNvSpPr>
            <a:spLocks noGrp="1"/>
          </p:cNvSpPr>
          <p:nvPr>
            <p:ph type="body" sz="quarter" idx="19" hasCustomPrompt="1"/>
          </p:nvPr>
        </p:nvSpPr>
        <p:spPr bwMode="gray">
          <a:xfrm>
            <a:off x="0" y="4330662"/>
            <a:ext cx="12195176" cy="1765339"/>
          </a:xfrm>
          <a:custGeom>
            <a:avLst/>
            <a:gdLst>
              <a:gd name="connsiteX0" fmla="*/ 12195176 w 12195176"/>
              <a:gd name="connsiteY0" fmla="*/ 0 h 1765339"/>
              <a:gd name="connsiteX1" fmla="*/ 12195176 w 12195176"/>
              <a:gd name="connsiteY1" fmla="*/ 1765339 h 1765339"/>
              <a:gd name="connsiteX2" fmla="*/ 0 w 12195176"/>
              <a:gd name="connsiteY2" fmla="*/ 1765339 h 1765339"/>
              <a:gd name="connsiteX3" fmla="*/ 0 w 12195176"/>
              <a:gd name="connsiteY3" fmla="*/ 1616456 h 1765339"/>
              <a:gd name="connsiteX4" fmla="*/ 0 w 12195176"/>
              <a:gd name="connsiteY4" fmla="*/ 899138 h 1765339"/>
              <a:gd name="connsiteX5" fmla="*/ 11744467 w 12195176"/>
              <a:gd name="connsiteY5" fmla="*/ 218109 h 176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5176" h="1765339">
                <a:moveTo>
                  <a:pt x="12195176" y="0"/>
                </a:moveTo>
                <a:lnTo>
                  <a:pt x="12195176" y="1765339"/>
                </a:lnTo>
                <a:lnTo>
                  <a:pt x="0" y="1765339"/>
                </a:lnTo>
                <a:lnTo>
                  <a:pt x="0" y="1616456"/>
                </a:lnTo>
                <a:lnTo>
                  <a:pt x="0" y="899138"/>
                </a:lnTo>
                <a:cubicBezTo>
                  <a:pt x="133556" y="928666"/>
                  <a:pt x="6999265" y="2362663"/>
                  <a:pt x="11744467" y="218109"/>
                </a:cubicBezTo>
                <a:close/>
              </a:path>
            </a:pathLst>
          </a:custGeom>
          <a:solidFill>
            <a:schemeClr val="bg1"/>
          </a:solidFill>
        </p:spPr>
        <p:txBody>
          <a:bodyPr wrap="square">
            <a:noAutofit/>
          </a:bodyPr>
          <a:lstStyle>
            <a:lvl1pPr marL="0" indent="0">
              <a:buNone/>
              <a:defRPr/>
            </a:lvl1pPr>
          </a:lstStyle>
          <a:p>
            <a:pPr lvl="0"/>
            <a:r>
              <a:rPr lang="en-US" noProof="0" dirty="0"/>
              <a:t> </a:t>
            </a:r>
          </a:p>
        </p:txBody>
      </p:sp>
    </p:spTree>
    <p:extLst>
      <p:ext uri="{BB962C8B-B14F-4D97-AF65-F5344CB8AC3E}">
        <p14:creationId xmlns:p14="http://schemas.microsoft.com/office/powerpoint/2010/main" val="3693284058"/>
      </p:ext>
    </p:extLst>
  </p:cSld>
  <p:clrMapOvr>
    <a:masterClrMapping/>
  </p:clrMapOvr>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 GI">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167B6C5-134D-4DFA-B63D-39DDFAC223F0}"/>
              </a:ext>
            </a:extLst>
          </p:cNvPr>
          <p:cNvPicPr>
            <a:picLocks noChangeAspect="1"/>
          </p:cNvPicPr>
          <p:nvPr userDrawn="1"/>
        </p:nvPicPr>
        <p:blipFill>
          <a:blip r:embed="rId4"/>
          <a:stretch>
            <a:fillRect/>
          </a:stretch>
        </p:blipFill>
        <p:spPr bwMode="gray">
          <a:xfrm>
            <a:off x="812" y="-42"/>
            <a:ext cx="12195175" cy="5940085"/>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12290" name="think-cell Folie" r:id="rId5" imgW="6350000" imgH="6350000" progId="TCLayout.ActiveDocument.1">
                  <p:embed/>
                </p:oleObj>
              </mc:Choice>
              <mc:Fallback>
                <p:oleObj name="think-cell Folie" r:id="rId5" imgW="6350000" imgH="635000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platzhalter 37"/>
          <p:cNvSpPr>
            <a:spLocks noGrp="1"/>
          </p:cNvSpPr>
          <p:nvPr>
            <p:ph type="body" sz="quarter" idx="14" hasCustomPrompt="1"/>
          </p:nvPr>
        </p:nvSpPr>
        <p:spPr bwMode="gray">
          <a:xfrm>
            <a:off x="372951" y="3636000"/>
            <a:ext cx="7345362" cy="1439839"/>
          </a:xfrm>
          <a:prstGeom prst="rect">
            <a:avLst/>
          </a:prstGeom>
        </p:spPr>
        <p:txBody>
          <a:bodyPr vert="horz"/>
          <a:lstStyle>
            <a:lvl1pPr marL="0" indent="0">
              <a:lnSpc>
                <a:spcPct val="100000"/>
              </a:lnSpc>
              <a:buFontTx/>
              <a:buNone/>
              <a:defRPr sz="4000" b="1" i="0" baseline="0">
                <a:solidFill>
                  <a:schemeClr val="bg2"/>
                </a:solidFill>
                <a:effectLst/>
                <a:latin typeface="+mj-lt"/>
              </a:defRPr>
            </a:lvl1pPr>
          </a:lstStyle>
          <a:p>
            <a:pPr lvl="0"/>
            <a:r>
              <a:rPr lang="en-US" noProof="0" dirty="0"/>
              <a:t>Specialties</a:t>
            </a:r>
          </a:p>
        </p:txBody>
      </p:sp>
      <p:sp>
        <p:nvSpPr>
          <p:cNvPr id="5" name="Date Placeholder 4"/>
          <p:cNvSpPr>
            <a:spLocks noGrp="1"/>
          </p:cNvSpPr>
          <p:nvPr>
            <p:ph type="dt" sz="half" idx="15"/>
          </p:nvPr>
        </p:nvSpPr>
        <p:spPr bwMode="gray"/>
        <p:txBody>
          <a:bodyPr/>
          <a:lstStyle/>
          <a:p>
            <a:fld id="{90A6D380-CE3C-4577-A496-8301971FAE2B}" type="datetime1">
              <a:rPr lang="en-US" altLang="zh-CN" noProof="0" smtClean="0"/>
              <a:t>11/19/2023</a:t>
            </a:fld>
            <a:endParaRPr lang="en-US" noProof="0" dirty="0"/>
          </a:p>
        </p:txBody>
      </p:sp>
      <p:sp>
        <p:nvSpPr>
          <p:cNvPr id="6" name="Footer Placeholder 5"/>
          <p:cNvSpPr>
            <a:spLocks noGrp="1"/>
          </p:cNvSpPr>
          <p:nvPr>
            <p:ph type="ftr" sz="quarter" idx="16"/>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7"/>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10" name="Textplatzhalter 9">
            <a:extLst>
              <a:ext uri="{FF2B5EF4-FFF2-40B4-BE49-F238E27FC236}">
                <a16:creationId xmlns:a16="http://schemas.microsoft.com/office/drawing/2014/main" id="{91493DF2-D232-43F5-D365-27D7C64C8522}"/>
              </a:ext>
            </a:extLst>
          </p:cNvPr>
          <p:cNvSpPr>
            <a:spLocks noGrp="1"/>
          </p:cNvSpPr>
          <p:nvPr>
            <p:ph type="body" sz="quarter" idx="19" hasCustomPrompt="1"/>
          </p:nvPr>
        </p:nvSpPr>
        <p:spPr bwMode="gray">
          <a:xfrm>
            <a:off x="0" y="4330662"/>
            <a:ext cx="12195176" cy="1765339"/>
          </a:xfrm>
          <a:custGeom>
            <a:avLst/>
            <a:gdLst>
              <a:gd name="connsiteX0" fmla="*/ 12195176 w 12195176"/>
              <a:gd name="connsiteY0" fmla="*/ 0 h 1765339"/>
              <a:gd name="connsiteX1" fmla="*/ 12195176 w 12195176"/>
              <a:gd name="connsiteY1" fmla="*/ 1765339 h 1765339"/>
              <a:gd name="connsiteX2" fmla="*/ 0 w 12195176"/>
              <a:gd name="connsiteY2" fmla="*/ 1765339 h 1765339"/>
              <a:gd name="connsiteX3" fmla="*/ 0 w 12195176"/>
              <a:gd name="connsiteY3" fmla="*/ 1616456 h 1765339"/>
              <a:gd name="connsiteX4" fmla="*/ 0 w 12195176"/>
              <a:gd name="connsiteY4" fmla="*/ 899138 h 1765339"/>
              <a:gd name="connsiteX5" fmla="*/ 11744467 w 12195176"/>
              <a:gd name="connsiteY5" fmla="*/ 218109 h 176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5176" h="1765339">
                <a:moveTo>
                  <a:pt x="12195176" y="0"/>
                </a:moveTo>
                <a:lnTo>
                  <a:pt x="12195176" y="1765339"/>
                </a:lnTo>
                <a:lnTo>
                  <a:pt x="0" y="1765339"/>
                </a:lnTo>
                <a:lnTo>
                  <a:pt x="0" y="1616456"/>
                </a:lnTo>
                <a:lnTo>
                  <a:pt x="0" y="899138"/>
                </a:lnTo>
                <a:cubicBezTo>
                  <a:pt x="133556" y="928666"/>
                  <a:pt x="6999265" y="2362663"/>
                  <a:pt x="11744467" y="218109"/>
                </a:cubicBezTo>
                <a:close/>
              </a:path>
            </a:pathLst>
          </a:custGeom>
          <a:solidFill>
            <a:schemeClr val="bg1"/>
          </a:solidFill>
        </p:spPr>
        <p:txBody>
          <a:bodyPr wrap="square">
            <a:noAutofit/>
          </a:bodyPr>
          <a:lstStyle>
            <a:lvl1pPr marL="0" indent="0">
              <a:buNone/>
              <a:defRPr/>
            </a:lvl1pPr>
          </a:lstStyle>
          <a:p>
            <a:pPr lvl="0"/>
            <a:r>
              <a:rPr lang="en-US" noProof="0" dirty="0"/>
              <a:t> </a:t>
            </a:r>
          </a:p>
        </p:txBody>
      </p:sp>
    </p:spTree>
    <p:extLst>
      <p:ext uri="{BB962C8B-B14F-4D97-AF65-F5344CB8AC3E}">
        <p14:creationId xmlns:p14="http://schemas.microsoft.com/office/powerpoint/2010/main" val="3372519779"/>
      </p:ext>
    </p:extLst>
  </p:cSld>
  <p:clrMapOvr>
    <a:masterClrMapping/>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 Healthcar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167B6C5-134D-4DFA-B63D-39DDFAC223F0}"/>
              </a:ext>
            </a:extLst>
          </p:cNvPr>
          <p:cNvPicPr>
            <a:picLocks noChangeAspect="1"/>
          </p:cNvPicPr>
          <p:nvPr userDrawn="1"/>
        </p:nvPicPr>
        <p:blipFill>
          <a:blip r:embed="rId4"/>
          <a:stretch>
            <a:fillRect/>
          </a:stretch>
        </p:blipFill>
        <p:spPr bwMode="gray">
          <a:xfrm>
            <a:off x="812" y="-42"/>
            <a:ext cx="12195175" cy="5940085"/>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13314" name="think-cell Folie" r:id="rId5" imgW="6350000" imgH="6350000" progId="TCLayout.ActiveDocument.1">
                  <p:embed/>
                </p:oleObj>
              </mc:Choice>
              <mc:Fallback>
                <p:oleObj name="think-cell Folie" r:id="rId5" imgW="6350000" imgH="635000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platzhalter 37"/>
          <p:cNvSpPr>
            <a:spLocks noGrp="1"/>
          </p:cNvSpPr>
          <p:nvPr>
            <p:ph type="body" sz="quarter" idx="14" hasCustomPrompt="1"/>
          </p:nvPr>
        </p:nvSpPr>
        <p:spPr bwMode="gray">
          <a:xfrm>
            <a:off x="480963" y="3991688"/>
            <a:ext cx="7345362" cy="1439839"/>
          </a:xfrm>
          <a:prstGeom prst="rect">
            <a:avLst/>
          </a:prstGeom>
        </p:spPr>
        <p:txBody>
          <a:bodyPr vert="horz"/>
          <a:lstStyle>
            <a:lvl1pPr marL="0" indent="0">
              <a:lnSpc>
                <a:spcPct val="100000"/>
              </a:lnSpc>
              <a:buFontTx/>
              <a:buNone/>
              <a:defRPr sz="4000" b="1" i="0" baseline="0">
                <a:solidFill>
                  <a:schemeClr val="bg2"/>
                </a:solidFill>
                <a:effectLst/>
                <a:latin typeface="+mj-lt"/>
              </a:defRPr>
            </a:lvl1pPr>
          </a:lstStyle>
          <a:p>
            <a:pPr lvl="0"/>
            <a:r>
              <a:rPr lang="en-US" noProof="0" dirty="0"/>
              <a:t>Healthcare</a:t>
            </a:r>
          </a:p>
        </p:txBody>
      </p:sp>
      <p:sp>
        <p:nvSpPr>
          <p:cNvPr id="5" name="Date Placeholder 4"/>
          <p:cNvSpPr>
            <a:spLocks noGrp="1"/>
          </p:cNvSpPr>
          <p:nvPr>
            <p:ph type="dt" sz="half" idx="15"/>
          </p:nvPr>
        </p:nvSpPr>
        <p:spPr bwMode="gray"/>
        <p:txBody>
          <a:bodyPr/>
          <a:lstStyle/>
          <a:p>
            <a:fld id="{8536718E-C1E1-44AC-9C83-BDCBFD63C27D}" type="datetime1">
              <a:rPr lang="en-US" altLang="zh-CN" noProof="0" smtClean="0"/>
              <a:t>11/19/2023</a:t>
            </a:fld>
            <a:endParaRPr lang="en-US" noProof="0" dirty="0"/>
          </a:p>
        </p:txBody>
      </p:sp>
      <p:sp>
        <p:nvSpPr>
          <p:cNvPr id="6" name="Footer Placeholder 5"/>
          <p:cNvSpPr>
            <a:spLocks noGrp="1"/>
          </p:cNvSpPr>
          <p:nvPr>
            <p:ph type="ftr" sz="quarter" idx="16"/>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7"/>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10" name="Textplatzhalter 9">
            <a:extLst>
              <a:ext uri="{FF2B5EF4-FFF2-40B4-BE49-F238E27FC236}">
                <a16:creationId xmlns:a16="http://schemas.microsoft.com/office/drawing/2014/main" id="{91493DF2-D232-43F5-D365-27D7C64C8522}"/>
              </a:ext>
            </a:extLst>
          </p:cNvPr>
          <p:cNvSpPr>
            <a:spLocks noGrp="1"/>
          </p:cNvSpPr>
          <p:nvPr>
            <p:ph type="body" sz="quarter" idx="19" hasCustomPrompt="1"/>
          </p:nvPr>
        </p:nvSpPr>
        <p:spPr bwMode="gray">
          <a:xfrm>
            <a:off x="0" y="4330662"/>
            <a:ext cx="12195176" cy="1765339"/>
          </a:xfrm>
          <a:custGeom>
            <a:avLst/>
            <a:gdLst>
              <a:gd name="connsiteX0" fmla="*/ 12195176 w 12195176"/>
              <a:gd name="connsiteY0" fmla="*/ 0 h 1765339"/>
              <a:gd name="connsiteX1" fmla="*/ 12195176 w 12195176"/>
              <a:gd name="connsiteY1" fmla="*/ 1765339 h 1765339"/>
              <a:gd name="connsiteX2" fmla="*/ 0 w 12195176"/>
              <a:gd name="connsiteY2" fmla="*/ 1765339 h 1765339"/>
              <a:gd name="connsiteX3" fmla="*/ 0 w 12195176"/>
              <a:gd name="connsiteY3" fmla="*/ 1616456 h 1765339"/>
              <a:gd name="connsiteX4" fmla="*/ 0 w 12195176"/>
              <a:gd name="connsiteY4" fmla="*/ 899138 h 1765339"/>
              <a:gd name="connsiteX5" fmla="*/ 11744467 w 12195176"/>
              <a:gd name="connsiteY5" fmla="*/ 218109 h 176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5176" h="1765339">
                <a:moveTo>
                  <a:pt x="12195176" y="0"/>
                </a:moveTo>
                <a:lnTo>
                  <a:pt x="12195176" y="1765339"/>
                </a:lnTo>
                <a:lnTo>
                  <a:pt x="0" y="1765339"/>
                </a:lnTo>
                <a:lnTo>
                  <a:pt x="0" y="1616456"/>
                </a:lnTo>
                <a:lnTo>
                  <a:pt x="0" y="899138"/>
                </a:lnTo>
                <a:cubicBezTo>
                  <a:pt x="133556" y="928666"/>
                  <a:pt x="6999265" y="2362663"/>
                  <a:pt x="11744467" y="218109"/>
                </a:cubicBezTo>
                <a:close/>
              </a:path>
            </a:pathLst>
          </a:custGeom>
          <a:solidFill>
            <a:schemeClr val="bg1"/>
          </a:solidFill>
        </p:spPr>
        <p:txBody>
          <a:bodyPr wrap="square">
            <a:noAutofit/>
          </a:bodyPr>
          <a:lstStyle>
            <a:lvl1pPr marL="0" indent="0">
              <a:buNone/>
              <a:defRPr/>
            </a:lvl1pPr>
          </a:lstStyle>
          <a:p>
            <a:pPr lvl="0"/>
            <a:r>
              <a:rPr lang="en-US" noProof="0" dirty="0"/>
              <a:t> </a:t>
            </a:r>
          </a:p>
        </p:txBody>
      </p:sp>
    </p:spTree>
    <p:extLst>
      <p:ext uri="{BB962C8B-B14F-4D97-AF65-F5344CB8AC3E}">
        <p14:creationId xmlns:p14="http://schemas.microsoft.com/office/powerpoint/2010/main" val="905981826"/>
      </p:ext>
    </p:extLst>
  </p:cSld>
  <p:clrMapOvr>
    <a:masterClrMapping/>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 New Mobility">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167B6C5-134D-4DFA-B63D-39DDFAC223F0}"/>
              </a:ext>
            </a:extLst>
          </p:cNvPr>
          <p:cNvPicPr>
            <a:picLocks noChangeAspect="1"/>
          </p:cNvPicPr>
          <p:nvPr userDrawn="1"/>
        </p:nvPicPr>
        <p:blipFill>
          <a:blip r:embed="rId4"/>
          <a:stretch>
            <a:fillRect/>
          </a:stretch>
        </p:blipFill>
        <p:spPr bwMode="gray">
          <a:xfrm>
            <a:off x="0" y="0"/>
            <a:ext cx="12195175" cy="5940085"/>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14338" name="think-cell Folie" r:id="rId5" imgW="6350000" imgH="6350000" progId="TCLayout.ActiveDocument.1">
                  <p:embed/>
                </p:oleObj>
              </mc:Choice>
              <mc:Fallback>
                <p:oleObj name="think-cell Folie" r:id="rId5" imgW="6350000" imgH="635000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platzhalter 37"/>
          <p:cNvSpPr>
            <a:spLocks noGrp="1"/>
          </p:cNvSpPr>
          <p:nvPr>
            <p:ph type="body" sz="quarter" idx="14" hasCustomPrompt="1"/>
          </p:nvPr>
        </p:nvSpPr>
        <p:spPr bwMode="gray">
          <a:xfrm>
            <a:off x="481013" y="2854051"/>
            <a:ext cx="7345362" cy="1439839"/>
          </a:xfrm>
          <a:prstGeom prst="rect">
            <a:avLst/>
          </a:prstGeom>
        </p:spPr>
        <p:txBody>
          <a:bodyPr vert="horz"/>
          <a:lstStyle>
            <a:lvl1pPr marL="0" indent="0">
              <a:lnSpc>
                <a:spcPct val="100000"/>
              </a:lnSpc>
              <a:buFontTx/>
              <a:buNone/>
              <a:defRPr sz="4000" b="1" i="0" baseline="0">
                <a:solidFill>
                  <a:schemeClr val="bg2"/>
                </a:solidFill>
                <a:effectLst/>
                <a:latin typeface="+mj-lt"/>
              </a:defRPr>
            </a:lvl1pPr>
          </a:lstStyle>
          <a:p>
            <a:pPr lvl="0"/>
            <a:r>
              <a:rPr lang="en-US" noProof="0" dirty="0"/>
              <a:t>New Mobility</a:t>
            </a:r>
          </a:p>
        </p:txBody>
      </p:sp>
      <p:sp>
        <p:nvSpPr>
          <p:cNvPr id="5" name="Date Placeholder 4"/>
          <p:cNvSpPr>
            <a:spLocks noGrp="1"/>
          </p:cNvSpPr>
          <p:nvPr>
            <p:ph type="dt" sz="half" idx="15"/>
          </p:nvPr>
        </p:nvSpPr>
        <p:spPr bwMode="gray"/>
        <p:txBody>
          <a:bodyPr/>
          <a:lstStyle/>
          <a:p>
            <a:fld id="{706ADAF3-3FE8-4107-8142-8CEA1E9E767D}" type="datetime1">
              <a:rPr lang="en-US" altLang="zh-CN" noProof="0" smtClean="0"/>
              <a:t>11/19/2023</a:t>
            </a:fld>
            <a:endParaRPr lang="en-US" noProof="0" dirty="0"/>
          </a:p>
        </p:txBody>
      </p:sp>
      <p:sp>
        <p:nvSpPr>
          <p:cNvPr id="6" name="Footer Placeholder 5"/>
          <p:cNvSpPr>
            <a:spLocks noGrp="1"/>
          </p:cNvSpPr>
          <p:nvPr>
            <p:ph type="ftr" sz="quarter" idx="16"/>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7"/>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10" name="Textplatzhalter 9">
            <a:extLst>
              <a:ext uri="{FF2B5EF4-FFF2-40B4-BE49-F238E27FC236}">
                <a16:creationId xmlns:a16="http://schemas.microsoft.com/office/drawing/2014/main" id="{91493DF2-D232-43F5-D365-27D7C64C8522}"/>
              </a:ext>
            </a:extLst>
          </p:cNvPr>
          <p:cNvSpPr>
            <a:spLocks noGrp="1"/>
          </p:cNvSpPr>
          <p:nvPr>
            <p:ph type="body" sz="quarter" idx="19" hasCustomPrompt="1"/>
          </p:nvPr>
        </p:nvSpPr>
        <p:spPr bwMode="gray">
          <a:xfrm>
            <a:off x="0" y="4330662"/>
            <a:ext cx="12195176" cy="1765339"/>
          </a:xfrm>
          <a:custGeom>
            <a:avLst/>
            <a:gdLst>
              <a:gd name="connsiteX0" fmla="*/ 12195176 w 12195176"/>
              <a:gd name="connsiteY0" fmla="*/ 0 h 1765339"/>
              <a:gd name="connsiteX1" fmla="*/ 12195176 w 12195176"/>
              <a:gd name="connsiteY1" fmla="*/ 1765339 h 1765339"/>
              <a:gd name="connsiteX2" fmla="*/ 0 w 12195176"/>
              <a:gd name="connsiteY2" fmla="*/ 1765339 h 1765339"/>
              <a:gd name="connsiteX3" fmla="*/ 0 w 12195176"/>
              <a:gd name="connsiteY3" fmla="*/ 1616456 h 1765339"/>
              <a:gd name="connsiteX4" fmla="*/ 0 w 12195176"/>
              <a:gd name="connsiteY4" fmla="*/ 899138 h 1765339"/>
              <a:gd name="connsiteX5" fmla="*/ 11744467 w 12195176"/>
              <a:gd name="connsiteY5" fmla="*/ 218109 h 176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5176" h="1765339">
                <a:moveTo>
                  <a:pt x="12195176" y="0"/>
                </a:moveTo>
                <a:lnTo>
                  <a:pt x="12195176" y="1765339"/>
                </a:lnTo>
                <a:lnTo>
                  <a:pt x="0" y="1765339"/>
                </a:lnTo>
                <a:lnTo>
                  <a:pt x="0" y="1616456"/>
                </a:lnTo>
                <a:lnTo>
                  <a:pt x="0" y="899138"/>
                </a:lnTo>
                <a:cubicBezTo>
                  <a:pt x="133556" y="928666"/>
                  <a:pt x="6999265" y="2362663"/>
                  <a:pt x="11744467" y="218109"/>
                </a:cubicBezTo>
                <a:close/>
              </a:path>
            </a:pathLst>
          </a:custGeom>
          <a:solidFill>
            <a:schemeClr val="bg1"/>
          </a:solidFill>
        </p:spPr>
        <p:txBody>
          <a:bodyPr wrap="square">
            <a:noAutofit/>
          </a:bodyPr>
          <a:lstStyle>
            <a:lvl1pPr marL="0" indent="0">
              <a:buNone/>
              <a:defRPr/>
            </a:lvl1pPr>
          </a:lstStyle>
          <a:p>
            <a:pPr lvl="0"/>
            <a:r>
              <a:rPr lang="en-US" noProof="0" dirty="0"/>
              <a:t> </a:t>
            </a:r>
          </a:p>
        </p:txBody>
      </p:sp>
    </p:spTree>
    <p:extLst>
      <p:ext uri="{BB962C8B-B14F-4D97-AF65-F5344CB8AC3E}">
        <p14:creationId xmlns:p14="http://schemas.microsoft.com/office/powerpoint/2010/main" val="351177113"/>
      </p:ext>
    </p:extLst>
  </p:cSld>
  <p:clrMapOvr>
    <a:masterClrMapping/>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 Packagin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167B6C5-134D-4DFA-B63D-39DDFAC223F0}"/>
              </a:ext>
            </a:extLst>
          </p:cNvPr>
          <p:cNvPicPr>
            <a:picLocks noChangeAspect="1"/>
          </p:cNvPicPr>
          <p:nvPr userDrawn="1"/>
        </p:nvPicPr>
        <p:blipFill>
          <a:blip r:embed="rId4"/>
          <a:stretch>
            <a:fillRect/>
          </a:stretch>
        </p:blipFill>
        <p:spPr bwMode="gray">
          <a:xfrm>
            <a:off x="812" y="-42"/>
            <a:ext cx="12195175" cy="5940085"/>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15362" name="think-cell Folie" r:id="rId5" imgW="6350000" imgH="6350000" progId="TCLayout.ActiveDocument.1">
                  <p:embed/>
                </p:oleObj>
              </mc:Choice>
              <mc:Fallback>
                <p:oleObj name="think-cell Folie" r:id="rId5" imgW="6350000" imgH="635000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platzhalter 37"/>
          <p:cNvSpPr>
            <a:spLocks noGrp="1"/>
          </p:cNvSpPr>
          <p:nvPr>
            <p:ph type="body" sz="quarter" idx="14" hasCustomPrompt="1"/>
          </p:nvPr>
        </p:nvSpPr>
        <p:spPr bwMode="gray">
          <a:xfrm>
            <a:off x="480963" y="3610742"/>
            <a:ext cx="7345362" cy="1439839"/>
          </a:xfrm>
          <a:prstGeom prst="rect">
            <a:avLst/>
          </a:prstGeom>
        </p:spPr>
        <p:txBody>
          <a:bodyPr vert="horz"/>
          <a:lstStyle>
            <a:lvl1pPr marL="0" indent="0">
              <a:lnSpc>
                <a:spcPct val="100000"/>
              </a:lnSpc>
              <a:buFontTx/>
              <a:buNone/>
              <a:defRPr sz="4000" b="1" i="0" baseline="0">
                <a:solidFill>
                  <a:schemeClr val="bg2"/>
                </a:solidFill>
                <a:effectLst/>
                <a:latin typeface="+mj-lt"/>
              </a:defRPr>
            </a:lvl1pPr>
          </a:lstStyle>
          <a:p>
            <a:pPr lvl="0"/>
            <a:r>
              <a:rPr lang="en-US" noProof="0" dirty="0"/>
              <a:t>Packaging</a:t>
            </a:r>
          </a:p>
        </p:txBody>
      </p:sp>
      <p:sp>
        <p:nvSpPr>
          <p:cNvPr id="5" name="Date Placeholder 4"/>
          <p:cNvSpPr>
            <a:spLocks noGrp="1"/>
          </p:cNvSpPr>
          <p:nvPr>
            <p:ph type="dt" sz="half" idx="15"/>
          </p:nvPr>
        </p:nvSpPr>
        <p:spPr bwMode="gray"/>
        <p:txBody>
          <a:bodyPr/>
          <a:lstStyle/>
          <a:p>
            <a:fld id="{2555AADB-B972-4AF7-B013-CDBC438400C9}" type="datetime1">
              <a:rPr lang="en-US" altLang="zh-CN" noProof="0" smtClean="0"/>
              <a:t>11/19/2023</a:t>
            </a:fld>
            <a:endParaRPr lang="en-US" noProof="0" dirty="0"/>
          </a:p>
        </p:txBody>
      </p:sp>
      <p:sp>
        <p:nvSpPr>
          <p:cNvPr id="6" name="Footer Placeholder 5"/>
          <p:cNvSpPr>
            <a:spLocks noGrp="1"/>
          </p:cNvSpPr>
          <p:nvPr>
            <p:ph type="ftr" sz="quarter" idx="16"/>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7"/>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10" name="Textplatzhalter 9">
            <a:extLst>
              <a:ext uri="{FF2B5EF4-FFF2-40B4-BE49-F238E27FC236}">
                <a16:creationId xmlns:a16="http://schemas.microsoft.com/office/drawing/2014/main" id="{91493DF2-D232-43F5-D365-27D7C64C8522}"/>
              </a:ext>
            </a:extLst>
          </p:cNvPr>
          <p:cNvSpPr>
            <a:spLocks noGrp="1"/>
          </p:cNvSpPr>
          <p:nvPr>
            <p:ph type="body" sz="quarter" idx="19" hasCustomPrompt="1"/>
          </p:nvPr>
        </p:nvSpPr>
        <p:spPr bwMode="gray">
          <a:xfrm>
            <a:off x="0" y="4330662"/>
            <a:ext cx="12195176" cy="1765339"/>
          </a:xfrm>
          <a:custGeom>
            <a:avLst/>
            <a:gdLst>
              <a:gd name="connsiteX0" fmla="*/ 12195176 w 12195176"/>
              <a:gd name="connsiteY0" fmla="*/ 0 h 1765339"/>
              <a:gd name="connsiteX1" fmla="*/ 12195176 w 12195176"/>
              <a:gd name="connsiteY1" fmla="*/ 1765339 h 1765339"/>
              <a:gd name="connsiteX2" fmla="*/ 0 w 12195176"/>
              <a:gd name="connsiteY2" fmla="*/ 1765339 h 1765339"/>
              <a:gd name="connsiteX3" fmla="*/ 0 w 12195176"/>
              <a:gd name="connsiteY3" fmla="*/ 1616456 h 1765339"/>
              <a:gd name="connsiteX4" fmla="*/ 0 w 12195176"/>
              <a:gd name="connsiteY4" fmla="*/ 899138 h 1765339"/>
              <a:gd name="connsiteX5" fmla="*/ 11744467 w 12195176"/>
              <a:gd name="connsiteY5" fmla="*/ 218109 h 176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5176" h="1765339">
                <a:moveTo>
                  <a:pt x="12195176" y="0"/>
                </a:moveTo>
                <a:lnTo>
                  <a:pt x="12195176" y="1765339"/>
                </a:lnTo>
                <a:lnTo>
                  <a:pt x="0" y="1765339"/>
                </a:lnTo>
                <a:lnTo>
                  <a:pt x="0" y="1616456"/>
                </a:lnTo>
                <a:lnTo>
                  <a:pt x="0" y="899138"/>
                </a:lnTo>
                <a:cubicBezTo>
                  <a:pt x="133556" y="928666"/>
                  <a:pt x="6999265" y="2362663"/>
                  <a:pt x="11744467" y="218109"/>
                </a:cubicBezTo>
                <a:close/>
              </a:path>
            </a:pathLst>
          </a:custGeom>
          <a:solidFill>
            <a:schemeClr val="bg1"/>
          </a:solidFill>
        </p:spPr>
        <p:txBody>
          <a:bodyPr wrap="square">
            <a:noAutofit/>
          </a:bodyPr>
          <a:lstStyle>
            <a:lvl1pPr marL="0" indent="0">
              <a:buNone/>
              <a:defRPr/>
            </a:lvl1pPr>
          </a:lstStyle>
          <a:p>
            <a:pPr lvl="0"/>
            <a:r>
              <a:rPr lang="en-US" noProof="0" dirty="0"/>
              <a:t> </a:t>
            </a:r>
          </a:p>
        </p:txBody>
      </p:sp>
    </p:spTree>
    <p:extLst>
      <p:ext uri="{BB962C8B-B14F-4D97-AF65-F5344CB8AC3E}">
        <p14:creationId xmlns:p14="http://schemas.microsoft.com/office/powerpoint/2010/main" val="3236521189"/>
      </p:ext>
    </p:extLst>
  </p:cSld>
  <p:clrMapOvr>
    <a:masterClrMapping/>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ivider | Shoe &amp; Leathergood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167B6C5-134D-4DFA-B63D-39DDFAC223F0}"/>
              </a:ext>
            </a:extLst>
          </p:cNvPr>
          <p:cNvPicPr>
            <a:picLocks noChangeAspect="1"/>
          </p:cNvPicPr>
          <p:nvPr userDrawn="1"/>
        </p:nvPicPr>
        <p:blipFill>
          <a:blip r:embed="rId4"/>
          <a:stretch>
            <a:fillRect/>
          </a:stretch>
        </p:blipFill>
        <p:spPr bwMode="gray">
          <a:xfrm>
            <a:off x="812" y="-42"/>
            <a:ext cx="12195175" cy="5940085"/>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16386" name="think-cell Folie" r:id="rId5" imgW="6350000" imgH="6350000" progId="TCLayout.ActiveDocument.1">
                  <p:embed/>
                </p:oleObj>
              </mc:Choice>
              <mc:Fallback>
                <p:oleObj name="think-cell Folie" r:id="rId5" imgW="6350000" imgH="635000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platzhalter 37"/>
          <p:cNvSpPr>
            <a:spLocks noGrp="1"/>
          </p:cNvSpPr>
          <p:nvPr>
            <p:ph type="body" sz="quarter" idx="14" hasCustomPrompt="1"/>
          </p:nvPr>
        </p:nvSpPr>
        <p:spPr bwMode="gray">
          <a:xfrm>
            <a:off x="480963" y="3610742"/>
            <a:ext cx="7345362" cy="1439839"/>
          </a:xfrm>
          <a:prstGeom prst="rect">
            <a:avLst/>
          </a:prstGeom>
        </p:spPr>
        <p:txBody>
          <a:bodyPr vert="horz"/>
          <a:lstStyle>
            <a:lvl1pPr marL="0" indent="0">
              <a:lnSpc>
                <a:spcPct val="100000"/>
              </a:lnSpc>
              <a:buFontTx/>
              <a:buNone/>
              <a:defRPr sz="4000" b="1" i="0" baseline="0">
                <a:solidFill>
                  <a:schemeClr val="bg2"/>
                </a:solidFill>
                <a:effectLst/>
                <a:latin typeface="+mj-lt"/>
              </a:defRPr>
            </a:lvl1pPr>
          </a:lstStyle>
          <a:p>
            <a:pPr lvl="0"/>
            <a:r>
              <a:rPr lang="en-US" noProof="0" dirty="0"/>
              <a:t>Shoe &amp; </a:t>
            </a:r>
          </a:p>
          <a:p>
            <a:pPr lvl="0"/>
            <a:r>
              <a:rPr lang="en-US" noProof="0" dirty="0" err="1"/>
              <a:t>Leathergoods</a:t>
            </a:r>
            <a:endParaRPr lang="en-US" noProof="0" dirty="0"/>
          </a:p>
        </p:txBody>
      </p:sp>
      <p:sp>
        <p:nvSpPr>
          <p:cNvPr id="5" name="Date Placeholder 4"/>
          <p:cNvSpPr>
            <a:spLocks noGrp="1"/>
          </p:cNvSpPr>
          <p:nvPr>
            <p:ph type="dt" sz="half" idx="15"/>
          </p:nvPr>
        </p:nvSpPr>
        <p:spPr bwMode="gray"/>
        <p:txBody>
          <a:bodyPr/>
          <a:lstStyle/>
          <a:p>
            <a:fld id="{B9C5593D-9CC8-47F7-BB3F-8F42AEDCFBE6}" type="datetime1">
              <a:rPr lang="en-US" altLang="zh-CN" noProof="0" smtClean="0"/>
              <a:t>11/19/2023</a:t>
            </a:fld>
            <a:endParaRPr lang="en-US" noProof="0" dirty="0"/>
          </a:p>
        </p:txBody>
      </p:sp>
      <p:sp>
        <p:nvSpPr>
          <p:cNvPr id="6" name="Footer Placeholder 5"/>
          <p:cNvSpPr>
            <a:spLocks noGrp="1"/>
          </p:cNvSpPr>
          <p:nvPr>
            <p:ph type="ftr" sz="quarter" idx="16"/>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7"/>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10" name="Textplatzhalter 9">
            <a:extLst>
              <a:ext uri="{FF2B5EF4-FFF2-40B4-BE49-F238E27FC236}">
                <a16:creationId xmlns:a16="http://schemas.microsoft.com/office/drawing/2014/main" id="{91493DF2-D232-43F5-D365-27D7C64C8522}"/>
              </a:ext>
            </a:extLst>
          </p:cNvPr>
          <p:cNvSpPr>
            <a:spLocks noGrp="1"/>
          </p:cNvSpPr>
          <p:nvPr>
            <p:ph type="body" sz="quarter" idx="19" hasCustomPrompt="1"/>
          </p:nvPr>
        </p:nvSpPr>
        <p:spPr bwMode="gray">
          <a:xfrm>
            <a:off x="0" y="4330662"/>
            <a:ext cx="12195176" cy="1765339"/>
          </a:xfrm>
          <a:custGeom>
            <a:avLst/>
            <a:gdLst>
              <a:gd name="connsiteX0" fmla="*/ 12195176 w 12195176"/>
              <a:gd name="connsiteY0" fmla="*/ 0 h 1765339"/>
              <a:gd name="connsiteX1" fmla="*/ 12195176 w 12195176"/>
              <a:gd name="connsiteY1" fmla="*/ 1765339 h 1765339"/>
              <a:gd name="connsiteX2" fmla="*/ 0 w 12195176"/>
              <a:gd name="connsiteY2" fmla="*/ 1765339 h 1765339"/>
              <a:gd name="connsiteX3" fmla="*/ 0 w 12195176"/>
              <a:gd name="connsiteY3" fmla="*/ 1616456 h 1765339"/>
              <a:gd name="connsiteX4" fmla="*/ 0 w 12195176"/>
              <a:gd name="connsiteY4" fmla="*/ 899138 h 1765339"/>
              <a:gd name="connsiteX5" fmla="*/ 11744467 w 12195176"/>
              <a:gd name="connsiteY5" fmla="*/ 218109 h 176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5176" h="1765339">
                <a:moveTo>
                  <a:pt x="12195176" y="0"/>
                </a:moveTo>
                <a:lnTo>
                  <a:pt x="12195176" y="1765339"/>
                </a:lnTo>
                <a:lnTo>
                  <a:pt x="0" y="1765339"/>
                </a:lnTo>
                <a:lnTo>
                  <a:pt x="0" y="1616456"/>
                </a:lnTo>
                <a:lnTo>
                  <a:pt x="0" y="899138"/>
                </a:lnTo>
                <a:cubicBezTo>
                  <a:pt x="133556" y="928666"/>
                  <a:pt x="6999265" y="2362663"/>
                  <a:pt x="11744467" y="218109"/>
                </a:cubicBezTo>
                <a:close/>
              </a:path>
            </a:pathLst>
          </a:custGeom>
          <a:solidFill>
            <a:schemeClr val="bg1"/>
          </a:solidFill>
        </p:spPr>
        <p:txBody>
          <a:bodyPr wrap="square">
            <a:noAutofit/>
          </a:bodyPr>
          <a:lstStyle>
            <a:lvl1pPr marL="0" indent="0">
              <a:buNone/>
              <a:defRPr/>
            </a:lvl1pPr>
          </a:lstStyle>
          <a:p>
            <a:pPr lvl="0"/>
            <a:r>
              <a:rPr lang="en-US" noProof="0" dirty="0"/>
              <a:t> </a:t>
            </a:r>
          </a:p>
        </p:txBody>
      </p:sp>
    </p:spTree>
    <p:extLst>
      <p:ext uri="{BB962C8B-B14F-4D97-AF65-F5344CB8AC3E}">
        <p14:creationId xmlns:p14="http://schemas.microsoft.com/office/powerpoint/2010/main" val="3018343326"/>
      </p:ext>
    </p:extLst>
  </p:cSld>
  <p:clrMapOvr>
    <a:masterClrMapping/>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ivider | Genera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17410" name="think-cell Folie" r:id="rId4" imgW="6350000" imgH="6350000" progId="TCLayout.ActiveDocument.1">
                  <p:embed/>
                </p:oleObj>
              </mc:Choice>
              <mc:Fallback>
                <p:oleObj name="think-cell Folie" r:id="rId4" imgW="6350000" imgH="635000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Grafik 9"/>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bwMode="gray">
          <a:xfrm>
            <a:off x="0" y="0"/>
            <a:ext cx="12195174" cy="5770054"/>
          </a:xfrm>
          <a:prstGeom prst="rect">
            <a:avLst/>
          </a:prstGeom>
          <a:noFill/>
          <a:ln>
            <a:noFill/>
          </a:ln>
        </p:spPr>
      </p:pic>
      <p:sp>
        <p:nvSpPr>
          <p:cNvPr id="5" name="Date Placeholder 4"/>
          <p:cNvSpPr>
            <a:spLocks noGrp="1"/>
          </p:cNvSpPr>
          <p:nvPr>
            <p:ph type="dt" sz="half" idx="15"/>
          </p:nvPr>
        </p:nvSpPr>
        <p:spPr bwMode="gray"/>
        <p:txBody>
          <a:bodyPr/>
          <a:lstStyle/>
          <a:p>
            <a:fld id="{6E1E88F8-E4A7-4595-8EF9-96AC114422CA}" type="datetime1">
              <a:rPr lang="en-US" altLang="zh-CN" noProof="0" smtClean="0"/>
              <a:t>11/19/2023</a:t>
            </a:fld>
            <a:endParaRPr lang="en-US" noProof="0" dirty="0"/>
          </a:p>
        </p:txBody>
      </p:sp>
      <p:sp>
        <p:nvSpPr>
          <p:cNvPr id="6" name="Footer Placeholder 5"/>
          <p:cNvSpPr>
            <a:spLocks noGrp="1"/>
          </p:cNvSpPr>
          <p:nvPr>
            <p:ph type="ftr" sz="quarter" idx="16"/>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7"/>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8" name="Textplatzhalter 7">
            <a:extLst>
              <a:ext uri="{FF2B5EF4-FFF2-40B4-BE49-F238E27FC236}">
                <a16:creationId xmlns:a16="http://schemas.microsoft.com/office/drawing/2014/main" id="{358FEE55-83F7-E878-DEA9-32D594E76DB2}"/>
              </a:ext>
            </a:extLst>
          </p:cNvPr>
          <p:cNvSpPr>
            <a:spLocks noGrp="1"/>
          </p:cNvSpPr>
          <p:nvPr>
            <p:ph type="body" sz="quarter" idx="19" hasCustomPrompt="1"/>
          </p:nvPr>
        </p:nvSpPr>
        <p:spPr bwMode="gray">
          <a:xfrm>
            <a:off x="0" y="4330662"/>
            <a:ext cx="12195176" cy="1765339"/>
          </a:xfrm>
          <a:custGeom>
            <a:avLst/>
            <a:gdLst>
              <a:gd name="connsiteX0" fmla="*/ 12195176 w 12195176"/>
              <a:gd name="connsiteY0" fmla="*/ 0 h 1765339"/>
              <a:gd name="connsiteX1" fmla="*/ 12195176 w 12195176"/>
              <a:gd name="connsiteY1" fmla="*/ 1765339 h 1765339"/>
              <a:gd name="connsiteX2" fmla="*/ 0 w 12195176"/>
              <a:gd name="connsiteY2" fmla="*/ 1765339 h 1765339"/>
              <a:gd name="connsiteX3" fmla="*/ 0 w 12195176"/>
              <a:gd name="connsiteY3" fmla="*/ 1616456 h 1765339"/>
              <a:gd name="connsiteX4" fmla="*/ 0 w 12195176"/>
              <a:gd name="connsiteY4" fmla="*/ 899138 h 1765339"/>
              <a:gd name="connsiteX5" fmla="*/ 11744467 w 12195176"/>
              <a:gd name="connsiteY5" fmla="*/ 218109 h 176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5176" h="1765339">
                <a:moveTo>
                  <a:pt x="12195176" y="0"/>
                </a:moveTo>
                <a:lnTo>
                  <a:pt x="12195176" y="1765339"/>
                </a:lnTo>
                <a:lnTo>
                  <a:pt x="0" y="1765339"/>
                </a:lnTo>
                <a:lnTo>
                  <a:pt x="0" y="1616456"/>
                </a:lnTo>
                <a:lnTo>
                  <a:pt x="0" y="899138"/>
                </a:lnTo>
                <a:cubicBezTo>
                  <a:pt x="133556" y="928666"/>
                  <a:pt x="6999265" y="2362663"/>
                  <a:pt x="11744467" y="218109"/>
                </a:cubicBezTo>
                <a:close/>
              </a:path>
            </a:pathLst>
          </a:custGeom>
          <a:solidFill>
            <a:schemeClr val="bg1"/>
          </a:solidFill>
        </p:spPr>
        <p:txBody>
          <a:bodyPr wrap="square">
            <a:noAutofit/>
          </a:bodyPr>
          <a:lstStyle>
            <a:lvl1pPr marL="0" indent="0">
              <a:buNone/>
              <a:defRPr/>
            </a:lvl1pPr>
          </a:lstStyle>
          <a:p>
            <a:pPr lvl="0"/>
            <a:r>
              <a:rPr lang="en-US" noProof="0" dirty="0"/>
              <a:t> </a:t>
            </a:r>
          </a:p>
        </p:txBody>
      </p:sp>
      <p:sp>
        <p:nvSpPr>
          <p:cNvPr id="12" name="Textplatzhalter 37"/>
          <p:cNvSpPr>
            <a:spLocks noGrp="1"/>
          </p:cNvSpPr>
          <p:nvPr>
            <p:ph type="body" sz="quarter" idx="14" hasCustomPrompt="1"/>
          </p:nvPr>
        </p:nvSpPr>
        <p:spPr bwMode="gray">
          <a:xfrm>
            <a:off x="1165039" y="3790155"/>
            <a:ext cx="6661336" cy="1439839"/>
          </a:xfrm>
          <a:prstGeom prst="rect">
            <a:avLst/>
          </a:prstGeom>
        </p:spPr>
        <p:txBody>
          <a:bodyPr vert="horz"/>
          <a:lstStyle>
            <a:lvl1pPr marL="0" indent="0">
              <a:lnSpc>
                <a:spcPct val="100000"/>
              </a:lnSpc>
              <a:buFontTx/>
              <a:buNone/>
              <a:defRPr sz="4000" b="1" i="0" baseline="0">
                <a:solidFill>
                  <a:schemeClr val="accent1"/>
                </a:solidFill>
                <a:effectLst/>
                <a:latin typeface="+mj-lt"/>
              </a:defRPr>
            </a:lvl1pPr>
          </a:lstStyle>
          <a:p>
            <a:pPr lvl="0"/>
            <a:r>
              <a:rPr lang="en-US" noProof="0" dirty="0"/>
              <a:t>Chapter-Divider, Arial bold 40pt 2 lines max</a:t>
            </a:r>
          </a:p>
        </p:txBody>
      </p:sp>
    </p:spTree>
    <p:extLst>
      <p:ext uri="{BB962C8B-B14F-4D97-AF65-F5344CB8AC3E}">
        <p14:creationId xmlns:p14="http://schemas.microsoft.com/office/powerpoint/2010/main" val="2735866119"/>
      </p:ext>
    </p:extLst>
  </p:cSld>
  <p:clrMapOvr>
    <a:masterClrMapping/>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ivider | V3">
    <p:spTree>
      <p:nvGrpSpPr>
        <p:cNvPr id="1" name=""/>
        <p:cNvGrpSpPr/>
        <p:nvPr/>
      </p:nvGrpSpPr>
      <p:grpSpPr>
        <a:xfrm>
          <a:off x="0" y="0"/>
          <a:ext cx="0" cy="0"/>
          <a:chOff x="0" y="0"/>
          <a:chExt cx="0" cy="0"/>
        </a:xfrm>
      </p:grpSpPr>
      <p:sp>
        <p:nvSpPr>
          <p:cNvPr id="14" name="Bildplatzhalter 13"/>
          <p:cNvSpPr>
            <a:spLocks noGrp="1"/>
          </p:cNvSpPr>
          <p:nvPr>
            <p:ph type="pic" sz="quarter" idx="18" hasCustomPrompt="1"/>
          </p:nvPr>
        </p:nvSpPr>
        <p:spPr bwMode="gray">
          <a:xfrm>
            <a:off x="0" y="1"/>
            <a:ext cx="12195175" cy="5878065"/>
          </a:xfrm>
          <a:prstGeom prst="rect">
            <a:avLst/>
          </a:prstGeom>
          <a:gradFill flip="none" rotWithShape="0">
            <a:gsLst>
              <a:gs pos="0">
                <a:srgbClr val="00A6DE"/>
              </a:gs>
              <a:gs pos="100000">
                <a:schemeClr val="accent1"/>
              </a:gs>
            </a:gsLst>
            <a:lin ang="2880000" scaled="0"/>
            <a:tileRect/>
          </a:gradFill>
          <a:ln>
            <a:noFill/>
          </a:ln>
        </p:spPr>
        <p:style>
          <a:lnRef idx="1">
            <a:schemeClr val="accent1"/>
          </a:lnRef>
          <a:fillRef idx="3">
            <a:schemeClr val="accent1"/>
          </a:fillRef>
          <a:effectRef idx="2">
            <a:schemeClr val="accent1"/>
          </a:effectRef>
          <a:fontRef idx="minor">
            <a:schemeClr val="lt1"/>
          </a:fontRef>
        </p:style>
        <p:txBody>
          <a:bodyPr wrap="square" lIns="121944" tIns="1008000" rIns="121944" bIns="60972" rtlCol="0" anchor="t">
            <a:noAutofit/>
          </a:bodyPr>
          <a:lstStyle>
            <a:lvl1pPr marL="0" indent="0" algn="ctr" defTabSz="609722">
              <a:lnSpc>
                <a:spcPct val="100000"/>
              </a:lnSpc>
              <a:spcBef>
                <a:spcPts val="0"/>
              </a:spcBef>
              <a:buNone/>
              <a:defRPr lang="de-DE" sz="1100" b="1" baseline="0" dirty="0">
                <a:solidFill>
                  <a:srgbClr val="7FD2F0"/>
                </a:solidFill>
                <a:latin typeface="Arial" panose="020B0604020202020204" pitchFamily="34" charset="0"/>
                <a:cs typeface="+mn-cs"/>
              </a:defRPr>
            </a:lvl1pPr>
          </a:lstStyle>
          <a:p>
            <a:pPr marL="0" lvl="0" algn="ctr" defTabSz="609722"/>
            <a:r>
              <a:rPr lang="en-US" noProof="0" dirty="0"/>
              <a:t>Set the wave and the text in the background and paste a picture. Then set picture in the background.</a:t>
            </a:r>
            <a:br>
              <a:rPr lang="en-US" noProof="0" dirty="0"/>
            </a:br>
            <a:r>
              <a:rPr lang="en-US" noProof="0" dirty="0"/>
              <a:t>You can use pictures from here: Sharepoint | Tools and Templates | 3_for all sites PowerPoint presentations | Images</a:t>
            </a:r>
          </a:p>
        </p:txBody>
      </p:sp>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18434"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2120" y="1590"/>
                        <a:ext cx="2117" cy="1587"/>
                      </a:xfrm>
                      <a:prstGeom prst="rect">
                        <a:avLst/>
                      </a:prstGeom>
                    </p:spPr>
                  </p:pic>
                </p:oleObj>
              </mc:Fallback>
            </mc:AlternateContent>
          </a:graphicData>
        </a:graphic>
      </p:graphicFrame>
      <p:sp>
        <p:nvSpPr>
          <p:cNvPr id="12" name="Textplatzhalter 37"/>
          <p:cNvSpPr>
            <a:spLocks noGrp="1"/>
          </p:cNvSpPr>
          <p:nvPr>
            <p:ph type="body" sz="quarter" idx="14" hasCustomPrompt="1"/>
          </p:nvPr>
        </p:nvSpPr>
        <p:spPr bwMode="gray">
          <a:xfrm>
            <a:off x="481013" y="2854051"/>
            <a:ext cx="7345362" cy="1439839"/>
          </a:xfrm>
          <a:prstGeom prst="rect">
            <a:avLst/>
          </a:prstGeom>
        </p:spPr>
        <p:txBody>
          <a:bodyPr vert="horz"/>
          <a:lstStyle>
            <a:lvl1pPr marL="0" indent="0">
              <a:lnSpc>
                <a:spcPct val="100000"/>
              </a:lnSpc>
              <a:buFontTx/>
              <a:buNone/>
              <a:defRPr sz="4000" b="1" i="0" baseline="0">
                <a:solidFill>
                  <a:schemeClr val="bg2"/>
                </a:solidFill>
                <a:effectLst/>
                <a:latin typeface="Arial" panose="020B0604020202020204" pitchFamily="34" charset="0"/>
              </a:defRPr>
            </a:lvl1pPr>
          </a:lstStyle>
          <a:p>
            <a:pPr lvl="0"/>
            <a:r>
              <a:rPr lang="en-US" noProof="0" dirty="0"/>
              <a:t>Chapter-Divider, Arial bold 40pt 2 lines max</a:t>
            </a:r>
          </a:p>
        </p:txBody>
      </p:sp>
      <p:sp>
        <p:nvSpPr>
          <p:cNvPr id="5" name="Date Placeholder 4"/>
          <p:cNvSpPr>
            <a:spLocks noGrp="1"/>
          </p:cNvSpPr>
          <p:nvPr>
            <p:ph type="dt" sz="half" idx="15"/>
          </p:nvPr>
        </p:nvSpPr>
        <p:spPr bwMode="gray"/>
        <p:txBody>
          <a:bodyPr/>
          <a:lstStyle>
            <a:lvl1pPr>
              <a:defRPr baseline="0">
                <a:latin typeface="Arial" panose="020B0604020202020204" pitchFamily="34" charset="0"/>
              </a:defRPr>
            </a:lvl1pPr>
          </a:lstStyle>
          <a:p>
            <a:fld id="{DE573F3F-AC43-4930-9B10-2D06FDB8FAD0}" type="datetime1">
              <a:rPr lang="en-US" altLang="zh-CN" smtClean="0"/>
              <a:t>11/19/2023</a:t>
            </a:fld>
            <a:endParaRPr lang="en-US" dirty="0"/>
          </a:p>
        </p:txBody>
      </p:sp>
      <p:sp>
        <p:nvSpPr>
          <p:cNvPr id="6" name="Footer Placeholder 5"/>
          <p:cNvSpPr>
            <a:spLocks noGrp="1"/>
          </p:cNvSpPr>
          <p:nvPr>
            <p:ph type="ftr" sz="quarter" idx="16"/>
          </p:nvPr>
        </p:nvSpPr>
        <p:spPr bwMode="gray"/>
        <p:txBody>
          <a:bodyPr/>
          <a:lstStyle>
            <a:lvl1pPr>
              <a:defRPr baseline="0">
                <a:latin typeface="Arial" panose="020B0604020202020204" pitchFamily="34" charset="0"/>
              </a:defRPr>
            </a:lvl1pPr>
          </a:lstStyle>
          <a:p>
            <a:r>
              <a:rPr lang="en-US"/>
              <a:t>ANFA NW Conference 2023</a:t>
            </a:r>
            <a:endParaRPr lang="en-US" dirty="0"/>
          </a:p>
        </p:txBody>
      </p:sp>
      <p:sp>
        <p:nvSpPr>
          <p:cNvPr id="7" name="Slide Number Placeholder 6"/>
          <p:cNvSpPr>
            <a:spLocks noGrp="1"/>
          </p:cNvSpPr>
          <p:nvPr>
            <p:ph type="sldNum" sz="quarter" idx="17"/>
          </p:nvPr>
        </p:nvSpPr>
        <p:spPr bwMode="gray"/>
        <p:txBody>
          <a:bodyPr/>
          <a:lstStyle>
            <a:lvl1pPr>
              <a:defRPr baseline="0">
                <a:latin typeface="Arial" panose="020B0604020202020204" pitchFamily="34" charset="0"/>
              </a:defRPr>
            </a:lvl1pPr>
          </a:lstStyle>
          <a:p>
            <a:r>
              <a:rPr lang="en-US" dirty="0"/>
              <a:t>Page </a:t>
            </a:r>
            <a:fld id="{CDF7CB8E-0C0F-4AA4-8EC3-057F9A13ED4A}" type="slidenum">
              <a:rPr lang="en-US" smtClean="0"/>
              <a:pPr/>
              <a:t>‹#›</a:t>
            </a:fld>
            <a:endParaRPr lang="en-US" dirty="0"/>
          </a:p>
        </p:txBody>
      </p:sp>
      <p:sp>
        <p:nvSpPr>
          <p:cNvPr id="3" name="Textplatzhalter 2">
            <a:extLst>
              <a:ext uri="{FF2B5EF4-FFF2-40B4-BE49-F238E27FC236}">
                <a16:creationId xmlns:a16="http://schemas.microsoft.com/office/drawing/2014/main" id="{6856FF7D-054D-84B3-4141-BB05D985A2B0}"/>
              </a:ext>
            </a:extLst>
          </p:cNvPr>
          <p:cNvSpPr>
            <a:spLocks noGrp="1"/>
          </p:cNvSpPr>
          <p:nvPr>
            <p:ph type="body" sz="quarter" idx="19" hasCustomPrompt="1"/>
          </p:nvPr>
        </p:nvSpPr>
        <p:spPr bwMode="gray">
          <a:xfrm>
            <a:off x="0" y="4330662"/>
            <a:ext cx="12195176" cy="1765339"/>
          </a:xfrm>
          <a:custGeom>
            <a:avLst/>
            <a:gdLst>
              <a:gd name="connsiteX0" fmla="*/ 12195176 w 12195176"/>
              <a:gd name="connsiteY0" fmla="*/ 0 h 1765339"/>
              <a:gd name="connsiteX1" fmla="*/ 12195176 w 12195176"/>
              <a:gd name="connsiteY1" fmla="*/ 1765339 h 1765339"/>
              <a:gd name="connsiteX2" fmla="*/ 0 w 12195176"/>
              <a:gd name="connsiteY2" fmla="*/ 1765339 h 1765339"/>
              <a:gd name="connsiteX3" fmla="*/ 0 w 12195176"/>
              <a:gd name="connsiteY3" fmla="*/ 1616456 h 1765339"/>
              <a:gd name="connsiteX4" fmla="*/ 0 w 12195176"/>
              <a:gd name="connsiteY4" fmla="*/ 899138 h 1765339"/>
              <a:gd name="connsiteX5" fmla="*/ 11744467 w 12195176"/>
              <a:gd name="connsiteY5" fmla="*/ 218109 h 176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5176" h="1765339">
                <a:moveTo>
                  <a:pt x="12195176" y="0"/>
                </a:moveTo>
                <a:lnTo>
                  <a:pt x="12195176" y="1765339"/>
                </a:lnTo>
                <a:lnTo>
                  <a:pt x="0" y="1765339"/>
                </a:lnTo>
                <a:lnTo>
                  <a:pt x="0" y="1616456"/>
                </a:lnTo>
                <a:lnTo>
                  <a:pt x="0" y="899138"/>
                </a:lnTo>
                <a:cubicBezTo>
                  <a:pt x="133556" y="928666"/>
                  <a:pt x="6999265" y="2362663"/>
                  <a:pt x="11744467" y="218109"/>
                </a:cubicBezTo>
                <a:close/>
              </a:path>
            </a:pathLst>
          </a:custGeom>
          <a:solidFill>
            <a:schemeClr val="bg1"/>
          </a:solidFill>
        </p:spPr>
        <p:txBody>
          <a:bodyPr wrap="square">
            <a:noAutofit/>
          </a:bodyPr>
          <a:lstStyle>
            <a:lvl1pPr marL="0" indent="0">
              <a:buNone/>
              <a:defRPr/>
            </a:lvl1pPr>
          </a:lstStyle>
          <a:p>
            <a:pPr lvl="0"/>
            <a:r>
              <a:rPr lang="en-US" noProof="0" dirty="0"/>
              <a:t> </a:t>
            </a:r>
          </a:p>
        </p:txBody>
      </p:sp>
    </p:spTree>
    <p:extLst>
      <p:ext uri="{BB962C8B-B14F-4D97-AF65-F5344CB8AC3E}">
        <p14:creationId xmlns:p14="http://schemas.microsoft.com/office/powerpoint/2010/main" val="1268870631"/>
      </p:ext>
    </p:extLst>
  </p:cSld>
  <p:clrMapOvr>
    <a:masterClrMapping/>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11" name="Text Placeholder 3"/>
          <p:cNvSpPr>
            <a:spLocks noGrp="1"/>
          </p:cNvSpPr>
          <p:nvPr>
            <p:ph type="body" sz="quarter" idx="13" hasCustomPrompt="1"/>
          </p:nvPr>
        </p:nvSpPr>
        <p:spPr bwMode="gray">
          <a:xfrm>
            <a:off x="481013" y="1341561"/>
            <a:ext cx="11233150" cy="4751263"/>
          </a:xfrm>
          <a:prstGeom prst="rect">
            <a:avLst/>
          </a:prstGeom>
        </p:spPr>
        <p:txBody>
          <a:bodyPr/>
          <a:lstStyle>
            <a:lvl1pPr marL="216000" indent="-216000">
              <a:buFont typeface="Wingdings 2" panose="05020102010507070707" pitchFamily="18" charset="2"/>
              <a:buChar char=""/>
              <a:defRPr b="0">
                <a:solidFill>
                  <a:schemeClr val="tx1"/>
                </a:solidFill>
              </a:defRPr>
            </a:lvl1pPr>
            <a:lvl2pPr marL="432000" indent="-216000">
              <a:spcBef>
                <a:spcPts val="300"/>
              </a:spcBef>
              <a:buFont typeface="Arial" panose="020B0604020202020204" pitchFamily="34" charset="0"/>
              <a:buChar char="–"/>
              <a:defRPr/>
            </a:lvl2pPr>
            <a:lvl3pPr marL="648000" indent="-216000">
              <a:buFont typeface="Wingdings 2" panose="05020102010507070707" pitchFamily="18" charset="2"/>
              <a:buChar char=""/>
              <a:defRPr/>
            </a:lvl3pPr>
            <a:lvl4pPr marL="864000" indent="-216000">
              <a:buFont typeface="Wingdings 2" panose="05020102010507070707" pitchFamily="18" charset="2"/>
              <a:buChar char=""/>
              <a:defRPr/>
            </a:lvl4pPr>
            <a:lvl5pPr marL="864000" indent="-216000">
              <a:buFont typeface="Wingdings 2" panose="05020102010507070707" pitchFamily="18" charset="2"/>
              <a:buChar char=""/>
              <a:defRPr/>
            </a:lvl5pPr>
            <a:lvl6pPr marL="864000" indent="-216000">
              <a:buFont typeface="Wingdings 2" panose="05020102010507070707" pitchFamily="18" charset="2"/>
              <a:buChar char=""/>
              <a:defRPr/>
            </a:lvl6pPr>
            <a:lvl7pPr marL="864000" indent="-216000">
              <a:buFont typeface="Wingdings 2" panose="05020102010507070707" pitchFamily="18" charset="2"/>
              <a:buChar char=""/>
              <a:defRPr/>
            </a:lvl7pPr>
            <a:lvl8pPr marL="864000" indent="-216000">
              <a:buFont typeface="Wingdings 2" panose="05020102010507070707" pitchFamily="18" charset="2"/>
              <a:buChar char=""/>
              <a:defRPr/>
            </a:lvl8pPr>
            <a:lvl9pPr marL="864000" indent="-216000">
              <a:buFont typeface="Wingdings 2" panose="05020102010507070707" pitchFamily="18" charset="2"/>
              <a:buChar char=""/>
              <a:defRPr/>
            </a:lvl9pPr>
          </a:lstStyle>
          <a:p>
            <a:pPr lvl="0"/>
            <a:r>
              <a:rPr lang="en-US" noProof="0" dirty="0"/>
              <a:t>Bullet, 1 level, Dark Blue Accent 1, Character code: 151 from Unicode (hex), 100%</a:t>
            </a:r>
          </a:p>
          <a:p>
            <a:pPr lvl="1"/>
            <a:r>
              <a:rPr lang="en-US" noProof="0" dirty="0"/>
              <a:t>Dash, 2nd level , Dark Blue Accent 1, Character code: 2013 from Unicode (hex), 100%</a:t>
            </a:r>
          </a:p>
          <a:p>
            <a:pPr lvl="2"/>
            <a:r>
              <a:rPr lang="en-US" noProof="0" dirty="0"/>
              <a:t>Bullet, 3rd level, Dark Blue Accent 1, Character code: 150 from Unicode (hex), 100%</a:t>
            </a:r>
          </a:p>
          <a:p>
            <a:pPr lvl="3"/>
            <a:r>
              <a:rPr lang="en-US" noProof="0" dirty="0"/>
              <a:t>4</a:t>
            </a:r>
          </a:p>
          <a:p>
            <a:pPr lvl="4"/>
            <a:r>
              <a:rPr lang="en-US" noProof="0" dirty="0"/>
              <a:t>5</a:t>
            </a:r>
          </a:p>
          <a:p>
            <a:pPr lvl="5"/>
            <a:r>
              <a:rPr lang="en-US" noProof="0" dirty="0"/>
              <a:t>6</a:t>
            </a:r>
          </a:p>
          <a:p>
            <a:pPr lvl="6"/>
            <a:r>
              <a:rPr lang="en-US" noProof="0" dirty="0"/>
              <a:t>7</a:t>
            </a:r>
          </a:p>
          <a:p>
            <a:pPr lvl="7"/>
            <a:r>
              <a:rPr lang="en-US" noProof="0" dirty="0"/>
              <a:t>8</a:t>
            </a:r>
          </a:p>
          <a:p>
            <a:pPr lvl="8"/>
            <a:r>
              <a:rPr lang="en-US" noProof="0" dirty="0"/>
              <a:t>9</a:t>
            </a:r>
          </a:p>
        </p:txBody>
      </p:sp>
      <p:sp>
        <p:nvSpPr>
          <p:cNvPr id="5" name="Date Placeholder 4"/>
          <p:cNvSpPr>
            <a:spLocks noGrp="1"/>
          </p:cNvSpPr>
          <p:nvPr>
            <p:ph type="dt" sz="half" idx="14"/>
          </p:nvPr>
        </p:nvSpPr>
        <p:spPr bwMode="gray"/>
        <p:txBody>
          <a:bodyPr/>
          <a:lstStyle/>
          <a:p>
            <a:fld id="{FC7F76DA-2B9B-47BD-8698-C90AF6F0C7E0}" type="datetime1">
              <a:rPr lang="en-US" altLang="zh-CN" noProof="0" smtClean="0"/>
              <a:t>11/19/2023</a:t>
            </a:fld>
            <a:endParaRPr lang="en-US" noProof="0" dirty="0"/>
          </a:p>
        </p:txBody>
      </p:sp>
      <p:sp>
        <p:nvSpPr>
          <p:cNvPr id="6" name="Footer Placeholder 5"/>
          <p:cNvSpPr>
            <a:spLocks noGrp="1"/>
          </p:cNvSpPr>
          <p:nvPr>
            <p:ph type="ftr" sz="quarter" idx="15"/>
          </p:nvPr>
        </p:nvSpPr>
        <p:spPr bwMode="gray"/>
        <p:txBody>
          <a:bodyPr/>
          <a:lstStyle/>
          <a:p>
            <a:r>
              <a:rPr lang="en-US" noProof="0"/>
              <a:t>ANFA NW Conference 2023</a:t>
            </a:r>
            <a:endParaRPr lang="en-US" noProof="0" dirty="0"/>
          </a:p>
        </p:txBody>
      </p:sp>
      <p:sp>
        <p:nvSpPr>
          <p:cNvPr id="8" name="Slide Number Placeholder 7"/>
          <p:cNvSpPr>
            <a:spLocks noGrp="1"/>
          </p:cNvSpPr>
          <p:nvPr>
            <p:ph type="sldNum" sz="quarter" idx="16"/>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3" name="Titel 2">
            <a:extLst>
              <a:ext uri="{FF2B5EF4-FFF2-40B4-BE49-F238E27FC236}">
                <a16:creationId xmlns:a16="http://schemas.microsoft.com/office/drawing/2014/main" id="{ACA7DBA7-1B59-4394-A9B1-DA036B96C69E}"/>
              </a:ext>
            </a:extLst>
          </p:cNvPr>
          <p:cNvSpPr>
            <a:spLocks noGrp="1"/>
          </p:cNvSpPr>
          <p:nvPr>
            <p:ph type="title" hasCustomPrompt="1"/>
          </p:nvPr>
        </p:nvSpPr>
        <p:spPr bwMode="gray"/>
        <p:txBody>
          <a:bodyPr/>
          <a:lstStyle>
            <a:lvl1pPr>
              <a:defRPr/>
            </a:lvl1pPr>
          </a:lstStyle>
          <a:p>
            <a:r>
              <a:rPr lang="en-US" noProof="0" dirty="0"/>
              <a:t>Headline in maximum 2 lines, </a:t>
            </a:r>
            <a:br>
              <a:rPr lang="en-US" noProof="0" dirty="0"/>
            </a:br>
            <a:r>
              <a:rPr lang="en-US" noProof="0" dirty="0"/>
              <a:t>Arial bold 24pt, blue gradient, line spacing 0.9</a:t>
            </a:r>
            <a:endParaRPr lang="en-US" dirty="0"/>
          </a:p>
        </p:txBody>
      </p:sp>
    </p:spTree>
    <p:extLst>
      <p:ext uri="{BB962C8B-B14F-4D97-AF65-F5344CB8AC3E}">
        <p14:creationId xmlns:p14="http://schemas.microsoft.com/office/powerpoint/2010/main" val="20272886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9" name="Bildplatzhalter 8"/>
          <p:cNvSpPr>
            <a:spLocks noGrp="1"/>
          </p:cNvSpPr>
          <p:nvPr>
            <p:ph type="pic" sz="quarter" idx="15" hasCustomPrompt="1"/>
          </p:nvPr>
        </p:nvSpPr>
        <p:spPr bwMode="gray">
          <a:xfrm>
            <a:off x="0" y="1"/>
            <a:ext cx="12195175" cy="2927337"/>
          </a:xfrm>
          <a:prstGeom prst="rect">
            <a:avLst/>
          </a:prstGeom>
          <a:gradFill flip="none" rotWithShape="0">
            <a:gsLst>
              <a:gs pos="0">
                <a:srgbClr val="00A6DE"/>
              </a:gs>
              <a:gs pos="100000">
                <a:schemeClr val="accent1"/>
              </a:gs>
            </a:gsLst>
            <a:lin ang="2880000" scaled="0"/>
            <a:tileRect/>
          </a:gradFill>
          <a:ln>
            <a:noFill/>
          </a:ln>
        </p:spPr>
        <p:style>
          <a:lnRef idx="1">
            <a:schemeClr val="accent1"/>
          </a:lnRef>
          <a:fillRef idx="3">
            <a:schemeClr val="accent1"/>
          </a:fillRef>
          <a:effectRef idx="2">
            <a:schemeClr val="accent1"/>
          </a:effectRef>
          <a:fontRef idx="minor">
            <a:schemeClr val="lt1"/>
          </a:fontRef>
        </p:style>
        <p:txBody>
          <a:bodyPr wrap="square" lIns="121944" tIns="1008000" rIns="121944" bIns="60972" rtlCol="0" anchor="t">
            <a:noAutofit/>
          </a:bodyPr>
          <a:lstStyle>
            <a:lvl1pPr marL="0" indent="0" algn="ctr" defTabSz="609722">
              <a:lnSpc>
                <a:spcPct val="100000"/>
              </a:lnSpc>
              <a:spcBef>
                <a:spcPts val="0"/>
              </a:spcBef>
              <a:buNone/>
              <a:defRPr lang="de-DE" sz="1100" b="0" dirty="0">
                <a:solidFill>
                  <a:schemeClr val="accent1"/>
                </a:solidFill>
                <a:cs typeface="+mn-cs"/>
              </a:defRPr>
            </a:lvl1pPr>
          </a:lstStyle>
          <a:p>
            <a:pPr marL="0" lvl="0" algn="ctr" defTabSz="609722"/>
            <a:r>
              <a:rPr lang="en-US" noProof="0" dirty="0"/>
              <a:t>Set the wave in the background and paste a picture. Then reset the layout (Start/Reset).</a:t>
            </a:r>
          </a:p>
        </p:txBody>
      </p:sp>
      <p:sp>
        <p:nvSpPr>
          <p:cNvPr id="2" name="Textplatzhalter 1">
            <a:extLst>
              <a:ext uri="{FF2B5EF4-FFF2-40B4-BE49-F238E27FC236}">
                <a16:creationId xmlns:a16="http://schemas.microsoft.com/office/drawing/2014/main" id="{D194A58A-3C11-160A-6301-C5B79761B019}"/>
              </a:ext>
            </a:extLst>
          </p:cNvPr>
          <p:cNvSpPr>
            <a:spLocks noGrp="1"/>
          </p:cNvSpPr>
          <p:nvPr>
            <p:ph type="body" sz="quarter" idx="18" hasCustomPrompt="1"/>
          </p:nvPr>
        </p:nvSpPr>
        <p:spPr bwMode="gray">
          <a:xfrm>
            <a:off x="0" y="1449574"/>
            <a:ext cx="12196763" cy="4428492"/>
          </a:xfrm>
          <a:custGeom>
            <a:avLst/>
            <a:gdLst>
              <a:gd name="connsiteX0" fmla="*/ 12196763 w 12196763"/>
              <a:gd name="connsiteY0" fmla="*/ 0 h 4428492"/>
              <a:gd name="connsiteX1" fmla="*/ 12196763 w 12196763"/>
              <a:gd name="connsiteY1" fmla="*/ 3656013 h 4428492"/>
              <a:gd name="connsiteX2" fmla="*/ 12195176 w 12196763"/>
              <a:gd name="connsiteY2" fmla="*/ 3656013 h 4428492"/>
              <a:gd name="connsiteX3" fmla="*/ 12195176 w 12196763"/>
              <a:gd name="connsiteY3" fmla="*/ 4428492 h 4428492"/>
              <a:gd name="connsiteX4" fmla="*/ 0 w 12196763"/>
              <a:gd name="connsiteY4" fmla="*/ 4428492 h 4428492"/>
              <a:gd name="connsiteX5" fmla="*/ 0 w 12196763"/>
              <a:gd name="connsiteY5" fmla="*/ 3656013 h 4428492"/>
              <a:gd name="connsiteX6" fmla="*/ 0 w 12196763"/>
              <a:gd name="connsiteY6" fmla="*/ 1617224 h 4428492"/>
              <a:gd name="connsiteX7" fmla="*/ 0 w 12196763"/>
              <a:gd name="connsiteY7" fmla="*/ 899906 h 4428492"/>
              <a:gd name="connsiteX8" fmla="*/ 12196763 w 12196763"/>
              <a:gd name="connsiteY8" fmla="*/ 0 h 442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6763" h="4428492">
                <a:moveTo>
                  <a:pt x="12196763" y="0"/>
                </a:moveTo>
                <a:cubicBezTo>
                  <a:pt x="12196763" y="3656013"/>
                  <a:pt x="12196763" y="3656013"/>
                  <a:pt x="12196763" y="3656013"/>
                </a:cubicBezTo>
                <a:lnTo>
                  <a:pt x="12195176" y="3656013"/>
                </a:lnTo>
                <a:lnTo>
                  <a:pt x="12195176" y="4428492"/>
                </a:lnTo>
                <a:lnTo>
                  <a:pt x="0" y="4428492"/>
                </a:lnTo>
                <a:lnTo>
                  <a:pt x="0" y="3656013"/>
                </a:lnTo>
                <a:lnTo>
                  <a:pt x="0" y="1617224"/>
                </a:lnTo>
                <a:lnTo>
                  <a:pt x="0" y="899906"/>
                </a:lnTo>
                <a:cubicBezTo>
                  <a:pt x="137864" y="930386"/>
                  <a:pt x="7449219" y="2457408"/>
                  <a:pt x="12196763" y="0"/>
                </a:cubicBezTo>
                <a:close/>
              </a:path>
            </a:pathLst>
          </a:custGeom>
          <a:solidFill>
            <a:schemeClr val="bg1"/>
          </a:solidFill>
        </p:spPr>
        <p:txBody>
          <a:bodyPr wrap="square">
            <a:noAutofit/>
          </a:bodyPr>
          <a:lstStyle>
            <a:lvl1pPr marL="0" indent="0">
              <a:buNone/>
              <a:defRPr/>
            </a:lvl1pPr>
          </a:lstStyle>
          <a:p>
            <a:pPr lvl="0"/>
            <a:r>
              <a:rPr lang="en-US" noProof="0" dirty="0"/>
              <a:t> </a:t>
            </a:r>
          </a:p>
        </p:txBody>
      </p:sp>
      <p:graphicFrame>
        <p:nvGraphicFramePr>
          <p:cNvPr id="4" name="Object 3"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2050" name="think-cell Folie" r:id="rId4" imgW="6350000" imgH="6350000" progId="TCLayout.ActiveDocument.1">
                  <p:embed/>
                </p:oleObj>
              </mc:Choice>
              <mc:Fallback>
                <p:oleObj name="think-cell Folie" r:id="rId4" imgW="6350000" imgH="635000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platzhalter 2"/>
          <p:cNvSpPr>
            <a:spLocks noGrp="1"/>
          </p:cNvSpPr>
          <p:nvPr>
            <p:ph type="body" sz="quarter" idx="10" hasCustomPrompt="1"/>
          </p:nvPr>
        </p:nvSpPr>
        <p:spPr bwMode="gray">
          <a:xfrm>
            <a:off x="481013" y="3213769"/>
            <a:ext cx="11233150" cy="2664000"/>
          </a:xfrm>
          <a:prstGeom prst="rect">
            <a:avLst/>
          </a:prstGeom>
        </p:spPr>
        <p:txBody>
          <a:bodyPr vert="horz" numCol="1"/>
          <a:lstStyle>
            <a:lvl1pPr marL="342900" indent="-342900">
              <a:lnSpc>
                <a:spcPct val="120000"/>
              </a:lnSpc>
              <a:spcBef>
                <a:spcPts val="600"/>
              </a:spcBef>
              <a:spcAft>
                <a:spcPts val="0"/>
              </a:spcAft>
              <a:buClrTx/>
              <a:buSzPct val="100000"/>
              <a:buFont typeface="+mj-lt"/>
              <a:buAutoNum type="arabicPeriod"/>
              <a:defRPr sz="1800" b="0" baseline="0">
                <a:solidFill>
                  <a:schemeClr val="accent5"/>
                </a:solidFill>
                <a:latin typeface="+mn-lt"/>
                <a:cs typeface="Arial"/>
              </a:defRPr>
            </a:lvl1pPr>
            <a:lvl2pPr marL="684000" indent="-342900">
              <a:lnSpc>
                <a:spcPct val="100000"/>
              </a:lnSpc>
              <a:spcBef>
                <a:spcPts val="1200"/>
              </a:spcBef>
              <a:spcAft>
                <a:spcPts val="0"/>
              </a:spcAft>
              <a:buClrTx/>
              <a:buFont typeface="Wingdings 2" panose="05020102010507070707" pitchFamily="18" charset="2"/>
              <a:buChar char=""/>
              <a:defRPr sz="1800">
                <a:solidFill>
                  <a:schemeClr val="accent5"/>
                </a:solidFill>
              </a:defRPr>
            </a:lvl2pPr>
            <a:lvl3pPr marL="684000" indent="-342900">
              <a:lnSpc>
                <a:spcPct val="100000"/>
              </a:lnSpc>
              <a:spcBef>
                <a:spcPts val="1200"/>
              </a:spcBef>
              <a:spcAft>
                <a:spcPts val="0"/>
              </a:spcAft>
              <a:buClrTx/>
              <a:buFont typeface="Wingdings 2" panose="05020102010507070707" pitchFamily="18" charset="2"/>
              <a:buChar char=""/>
              <a:defRPr sz="1800">
                <a:solidFill>
                  <a:schemeClr val="accent5"/>
                </a:solidFill>
              </a:defRPr>
            </a:lvl3pPr>
            <a:lvl4pPr marL="684000" indent="-342900">
              <a:lnSpc>
                <a:spcPct val="100000"/>
              </a:lnSpc>
              <a:spcBef>
                <a:spcPts val="1200"/>
              </a:spcBef>
              <a:spcAft>
                <a:spcPts val="0"/>
              </a:spcAft>
              <a:buClrTx/>
              <a:buFont typeface="Wingdings 2" panose="05020102010507070707" pitchFamily="18" charset="2"/>
              <a:buChar char=""/>
              <a:defRPr sz="1800">
                <a:solidFill>
                  <a:schemeClr val="accent5"/>
                </a:solidFill>
              </a:defRPr>
            </a:lvl4pPr>
            <a:lvl5pPr marL="684000" indent="-342900">
              <a:lnSpc>
                <a:spcPct val="100000"/>
              </a:lnSpc>
              <a:spcBef>
                <a:spcPts val="1200"/>
              </a:spcBef>
              <a:spcAft>
                <a:spcPts val="0"/>
              </a:spcAft>
              <a:buClrTx/>
              <a:buFont typeface="Wingdings 2" panose="05020102010507070707" pitchFamily="18" charset="2"/>
              <a:buChar char=""/>
              <a:defRPr sz="1800">
                <a:solidFill>
                  <a:schemeClr val="accent5"/>
                </a:solidFill>
              </a:defRPr>
            </a:lvl5pPr>
            <a:lvl6pPr marL="684000" indent="-342900">
              <a:lnSpc>
                <a:spcPct val="100000"/>
              </a:lnSpc>
              <a:spcBef>
                <a:spcPts val="1200"/>
              </a:spcBef>
              <a:spcAft>
                <a:spcPts val="0"/>
              </a:spcAft>
              <a:buClrTx/>
              <a:buFont typeface="Wingdings 2" panose="05020102010507070707" pitchFamily="18" charset="2"/>
              <a:buChar char=""/>
              <a:defRPr sz="1800">
                <a:solidFill>
                  <a:schemeClr val="accent5"/>
                </a:solidFill>
              </a:defRPr>
            </a:lvl6pPr>
            <a:lvl7pPr marL="684000" indent="-342900">
              <a:lnSpc>
                <a:spcPct val="100000"/>
              </a:lnSpc>
              <a:spcBef>
                <a:spcPts val="1200"/>
              </a:spcBef>
              <a:spcAft>
                <a:spcPts val="0"/>
              </a:spcAft>
              <a:buClrTx/>
              <a:buFont typeface="Wingdings 2" panose="05020102010507070707" pitchFamily="18" charset="2"/>
              <a:buChar char=""/>
              <a:defRPr sz="1800">
                <a:solidFill>
                  <a:schemeClr val="accent5"/>
                </a:solidFill>
              </a:defRPr>
            </a:lvl7pPr>
            <a:lvl8pPr marL="684000" indent="-342900">
              <a:lnSpc>
                <a:spcPct val="100000"/>
              </a:lnSpc>
              <a:spcBef>
                <a:spcPts val="1200"/>
              </a:spcBef>
              <a:spcAft>
                <a:spcPts val="0"/>
              </a:spcAft>
              <a:buClrTx/>
              <a:buFont typeface="Wingdings 2" panose="05020102010507070707" pitchFamily="18" charset="2"/>
              <a:buChar char=""/>
              <a:defRPr sz="1800">
                <a:solidFill>
                  <a:schemeClr val="accent5"/>
                </a:solidFill>
              </a:defRPr>
            </a:lvl8pPr>
            <a:lvl9pPr marL="684000" indent="-342900">
              <a:lnSpc>
                <a:spcPct val="100000"/>
              </a:lnSpc>
              <a:spcBef>
                <a:spcPts val="1200"/>
              </a:spcBef>
              <a:spcAft>
                <a:spcPts val="0"/>
              </a:spcAft>
              <a:buClrTx/>
              <a:buFont typeface="Wingdings 2" panose="05020102010507070707" pitchFamily="18" charset="2"/>
              <a:buChar char=""/>
              <a:defRPr sz="1800">
                <a:solidFill>
                  <a:schemeClr val="accent5"/>
                </a:solidFill>
              </a:defRPr>
            </a:lvl9pPr>
          </a:lstStyle>
          <a:p>
            <a:pPr lvl="0"/>
            <a:r>
              <a:rPr lang="en-US" noProof="0" dirty="0"/>
              <a:t>Index of contents</a:t>
            </a:r>
          </a:p>
          <a:p>
            <a:pPr lvl="0"/>
            <a:r>
              <a:rPr lang="en-US" noProof="0" dirty="0"/>
              <a:t>In two columns maximum</a:t>
            </a:r>
          </a:p>
          <a:p>
            <a:pPr lvl="0"/>
            <a:r>
              <a:rPr lang="en-US" noProof="0" dirty="0"/>
              <a:t>Arial regular, 18pt, 1.2 line spacing</a:t>
            </a:r>
          </a:p>
          <a:p>
            <a:pPr lvl="0"/>
            <a:r>
              <a:rPr lang="en-US" noProof="0" dirty="0"/>
              <a:t>Line of active chapter in black</a:t>
            </a:r>
          </a:p>
          <a:p>
            <a:pPr lvl="0"/>
            <a:r>
              <a:rPr lang="en-US" noProof="0" dirty="0"/>
              <a:t>Bullet, 1 level, Dark Blue Accent 1, Character code: 151 from Unicode (hex), 100%</a:t>
            </a:r>
          </a:p>
        </p:txBody>
      </p:sp>
      <p:sp>
        <p:nvSpPr>
          <p:cNvPr id="12" name="Date Placeholder 11"/>
          <p:cNvSpPr>
            <a:spLocks noGrp="1"/>
          </p:cNvSpPr>
          <p:nvPr>
            <p:ph type="dt" sz="half" idx="11"/>
          </p:nvPr>
        </p:nvSpPr>
        <p:spPr bwMode="gray"/>
        <p:txBody>
          <a:bodyPr/>
          <a:lstStyle/>
          <a:p>
            <a:fld id="{77F8D11F-1F22-4984-9869-AB76113A1D79}" type="datetime1">
              <a:rPr lang="en-US" altLang="zh-CN" noProof="0" smtClean="0"/>
              <a:t>11/19/2023</a:t>
            </a:fld>
            <a:endParaRPr lang="en-US" noProof="0" dirty="0"/>
          </a:p>
        </p:txBody>
      </p:sp>
      <p:sp>
        <p:nvSpPr>
          <p:cNvPr id="15" name="Footer Placeholder 14"/>
          <p:cNvSpPr>
            <a:spLocks noGrp="1"/>
          </p:cNvSpPr>
          <p:nvPr>
            <p:ph type="ftr" sz="quarter" idx="12"/>
          </p:nvPr>
        </p:nvSpPr>
        <p:spPr bwMode="gray"/>
        <p:txBody>
          <a:bodyPr/>
          <a:lstStyle/>
          <a:p>
            <a:r>
              <a:rPr lang="en-US" noProof="0"/>
              <a:t>ANFA NW Conference 2023</a:t>
            </a:r>
            <a:endParaRPr lang="en-US" noProof="0" dirty="0"/>
          </a:p>
        </p:txBody>
      </p:sp>
      <p:sp>
        <p:nvSpPr>
          <p:cNvPr id="19" name="Slide Number Placeholder 18"/>
          <p:cNvSpPr>
            <a:spLocks noGrp="1"/>
          </p:cNvSpPr>
          <p:nvPr>
            <p:ph type="sldNum" sz="quarter" idx="13"/>
          </p:nvPr>
        </p:nvSpPr>
        <p:spPr bwMode="gray"/>
        <p:txBody>
          <a:bodyPr/>
          <a:lstStyle/>
          <a:p>
            <a:r>
              <a:rPr lang="en-US" noProof="0" dirty="0"/>
              <a:t>Page </a:t>
            </a:r>
            <a:fld id="{CDF7CB8E-0C0F-4AA4-8EC3-057F9A13ED4A}" type="slidenum">
              <a:rPr lang="en-US" noProof="0" smtClean="0"/>
              <a:pPr/>
              <a:t>‹#›</a:t>
            </a:fld>
            <a:endParaRPr lang="en-US" noProof="0" dirty="0"/>
          </a:p>
        </p:txBody>
      </p:sp>
    </p:spTree>
    <p:extLst>
      <p:ext uri="{BB962C8B-B14F-4D97-AF65-F5344CB8AC3E}">
        <p14:creationId xmlns:p14="http://schemas.microsoft.com/office/powerpoint/2010/main" val="1355332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Folie" r:id="rId4" imgW="6350000" imgH="6350000" progId="TCLayout.ActiveDocument.1">
                  <p:embed/>
                </p:oleObj>
              </mc:Choice>
              <mc:Fallback>
                <p:oleObj name="think-cell Folie" r:id="rId4" imgW="6350000" imgH="6350000" progId="TCLayout.ActiveDocument.1">
                  <p:embed/>
                  <p:pic>
                    <p:nvPicPr>
                      <p:cNvPr id="3" name="Objek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ate Placeholder 4"/>
          <p:cNvSpPr>
            <a:spLocks noGrp="1"/>
          </p:cNvSpPr>
          <p:nvPr>
            <p:ph type="dt" sz="half" idx="12"/>
          </p:nvPr>
        </p:nvSpPr>
        <p:spPr bwMode="gray"/>
        <p:txBody>
          <a:bodyPr/>
          <a:lstStyle/>
          <a:p>
            <a:fld id="{3423E2A4-3274-46EC-998B-C89DAF9E26B0}" type="datetime1">
              <a:rPr lang="en-US" altLang="zh-CN" noProof="0" smtClean="0"/>
              <a:t>11/19/2023</a:t>
            </a:fld>
            <a:endParaRPr lang="en-US" noProof="0" dirty="0"/>
          </a:p>
        </p:txBody>
      </p:sp>
      <p:sp>
        <p:nvSpPr>
          <p:cNvPr id="8" name="Footer Placeholder 7"/>
          <p:cNvSpPr>
            <a:spLocks noGrp="1"/>
          </p:cNvSpPr>
          <p:nvPr>
            <p:ph type="ftr" sz="quarter" idx="13"/>
          </p:nvPr>
        </p:nvSpPr>
        <p:spPr bwMode="gray"/>
        <p:txBody>
          <a:bodyPr/>
          <a:lstStyle/>
          <a:p>
            <a:r>
              <a:rPr lang="en-US" noProof="0"/>
              <a:t>ANFA NW Conference 2023</a:t>
            </a:r>
            <a:endParaRPr lang="en-US" noProof="0" dirty="0"/>
          </a:p>
        </p:txBody>
      </p:sp>
      <p:sp>
        <p:nvSpPr>
          <p:cNvPr id="9" name="Slide Number Placeholder 8"/>
          <p:cNvSpPr>
            <a:spLocks noGrp="1"/>
          </p:cNvSpPr>
          <p:nvPr>
            <p:ph type="sldNum" sz="quarter" idx="14"/>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4" name="Inhaltsplatzhalter 3"/>
          <p:cNvSpPr>
            <a:spLocks noGrp="1"/>
          </p:cNvSpPr>
          <p:nvPr>
            <p:ph sz="quarter" idx="15" hasCustomPrompt="1"/>
          </p:nvPr>
        </p:nvSpPr>
        <p:spPr bwMode="gray">
          <a:xfrm>
            <a:off x="481013" y="1341561"/>
            <a:ext cx="11233150" cy="4751263"/>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itel 5">
            <a:extLst>
              <a:ext uri="{FF2B5EF4-FFF2-40B4-BE49-F238E27FC236}">
                <a16:creationId xmlns:a16="http://schemas.microsoft.com/office/drawing/2014/main" id="{F2B5EC67-2686-45C1-AFFB-7ED6896C9E14}"/>
              </a:ext>
            </a:extLst>
          </p:cNvPr>
          <p:cNvSpPr>
            <a:spLocks noGrp="1"/>
          </p:cNvSpPr>
          <p:nvPr>
            <p:ph type="title" hasCustomPrompt="1"/>
          </p:nvPr>
        </p:nvSpPr>
        <p:spPr bwMode="gray"/>
        <p:txBody>
          <a:bodyPr/>
          <a:lstStyle>
            <a:lvl1pPr>
              <a:defRPr/>
            </a:lvl1pPr>
          </a:lstStyle>
          <a:p>
            <a:r>
              <a:rPr lang="en-US" noProof="0" dirty="0"/>
              <a:t>Headline in maximum 2 lines, </a:t>
            </a:r>
            <a:br>
              <a:rPr lang="en-US" noProof="0" dirty="0"/>
            </a:br>
            <a:r>
              <a:rPr lang="en-US" noProof="0" dirty="0"/>
              <a:t>Arial bold 24pt, blue gradient, line spacing 0.9</a:t>
            </a:r>
            <a:endParaRPr lang="en-US" dirty="0"/>
          </a:p>
        </p:txBody>
      </p:sp>
    </p:spTree>
    <p:extLst>
      <p:ext uri="{BB962C8B-B14F-4D97-AF65-F5344CB8AC3E}">
        <p14:creationId xmlns:p14="http://schemas.microsoft.com/office/powerpoint/2010/main" val="26530738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5" name="Date Placeholder 4"/>
          <p:cNvSpPr>
            <a:spLocks noGrp="1"/>
          </p:cNvSpPr>
          <p:nvPr>
            <p:ph type="dt" sz="half" idx="12"/>
          </p:nvPr>
        </p:nvSpPr>
        <p:spPr bwMode="gray"/>
        <p:txBody>
          <a:bodyPr/>
          <a:lstStyle/>
          <a:p>
            <a:fld id="{97E46C5F-2769-4FAE-9441-A9FC6EEF21E4}" type="datetime1">
              <a:rPr lang="en-US" altLang="zh-CN" noProof="0" smtClean="0"/>
              <a:t>11/19/2023</a:t>
            </a:fld>
            <a:endParaRPr lang="en-US" noProof="0" dirty="0"/>
          </a:p>
        </p:txBody>
      </p:sp>
      <p:sp>
        <p:nvSpPr>
          <p:cNvPr id="8" name="Footer Placeholder 7"/>
          <p:cNvSpPr>
            <a:spLocks noGrp="1"/>
          </p:cNvSpPr>
          <p:nvPr>
            <p:ph type="ftr" sz="quarter" idx="13"/>
          </p:nvPr>
        </p:nvSpPr>
        <p:spPr bwMode="gray"/>
        <p:txBody>
          <a:bodyPr/>
          <a:lstStyle/>
          <a:p>
            <a:r>
              <a:rPr lang="en-US" noProof="0"/>
              <a:t>ANFA NW Conference 2023</a:t>
            </a:r>
            <a:endParaRPr lang="en-US" noProof="0" dirty="0"/>
          </a:p>
        </p:txBody>
      </p:sp>
      <p:sp>
        <p:nvSpPr>
          <p:cNvPr id="9" name="Slide Number Placeholder 8"/>
          <p:cNvSpPr>
            <a:spLocks noGrp="1"/>
          </p:cNvSpPr>
          <p:nvPr>
            <p:ph type="sldNum" sz="quarter" idx="14"/>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4" name="Inhaltsplatzhalter 3"/>
          <p:cNvSpPr>
            <a:spLocks noGrp="1"/>
          </p:cNvSpPr>
          <p:nvPr>
            <p:ph sz="quarter" idx="15" hasCustomPrompt="1"/>
          </p:nvPr>
        </p:nvSpPr>
        <p:spPr bwMode="gray">
          <a:xfrm>
            <a:off x="481013" y="1341561"/>
            <a:ext cx="5400675" cy="4751263"/>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Inhaltsplatzhalter 3"/>
          <p:cNvSpPr>
            <a:spLocks noGrp="1"/>
          </p:cNvSpPr>
          <p:nvPr>
            <p:ph sz="quarter" idx="16" hasCustomPrompt="1"/>
          </p:nvPr>
        </p:nvSpPr>
        <p:spPr bwMode="gray">
          <a:xfrm>
            <a:off x="6313488" y="1341561"/>
            <a:ext cx="5400675" cy="4751263"/>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itel 2">
            <a:extLst>
              <a:ext uri="{FF2B5EF4-FFF2-40B4-BE49-F238E27FC236}">
                <a16:creationId xmlns:a16="http://schemas.microsoft.com/office/drawing/2014/main" id="{17AA764E-E416-45AC-B266-7A1A251FD4E8}"/>
              </a:ext>
            </a:extLst>
          </p:cNvPr>
          <p:cNvSpPr>
            <a:spLocks noGrp="1"/>
          </p:cNvSpPr>
          <p:nvPr>
            <p:ph type="title" hasCustomPrompt="1"/>
          </p:nvPr>
        </p:nvSpPr>
        <p:spPr bwMode="gray"/>
        <p:txBody>
          <a:bodyPr/>
          <a:lstStyle>
            <a:lvl1pPr>
              <a:defRPr/>
            </a:lvl1pPr>
          </a:lstStyle>
          <a:p>
            <a:r>
              <a:rPr lang="en-US" noProof="0" dirty="0"/>
              <a:t>Headline in maximum 2 lines, </a:t>
            </a:r>
            <a:br>
              <a:rPr lang="en-US" noProof="0" dirty="0"/>
            </a:br>
            <a:r>
              <a:rPr lang="en-US" noProof="0" dirty="0"/>
              <a:t>Arial bold 24pt, blue gradient, line spacing 0.9</a:t>
            </a:r>
            <a:endParaRPr lang="en-US" dirty="0"/>
          </a:p>
        </p:txBody>
      </p:sp>
    </p:spTree>
    <p:extLst>
      <p:ext uri="{BB962C8B-B14F-4D97-AF65-F5344CB8AC3E}">
        <p14:creationId xmlns:p14="http://schemas.microsoft.com/office/powerpoint/2010/main" val="21725706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5" name="Date Placeholder 4"/>
          <p:cNvSpPr>
            <a:spLocks noGrp="1"/>
          </p:cNvSpPr>
          <p:nvPr>
            <p:ph type="dt" sz="half" idx="12"/>
          </p:nvPr>
        </p:nvSpPr>
        <p:spPr bwMode="gray"/>
        <p:txBody>
          <a:bodyPr/>
          <a:lstStyle/>
          <a:p>
            <a:fld id="{4A627DAA-336B-451D-8A74-038B7F0FC90F}" type="datetime1">
              <a:rPr lang="en-US" altLang="zh-CN" noProof="0" smtClean="0"/>
              <a:t>11/19/2023</a:t>
            </a:fld>
            <a:endParaRPr lang="en-US" noProof="0" dirty="0"/>
          </a:p>
        </p:txBody>
      </p:sp>
      <p:sp>
        <p:nvSpPr>
          <p:cNvPr id="8" name="Footer Placeholder 7"/>
          <p:cNvSpPr>
            <a:spLocks noGrp="1"/>
          </p:cNvSpPr>
          <p:nvPr>
            <p:ph type="ftr" sz="quarter" idx="13"/>
          </p:nvPr>
        </p:nvSpPr>
        <p:spPr bwMode="gray"/>
        <p:txBody>
          <a:bodyPr/>
          <a:lstStyle/>
          <a:p>
            <a:r>
              <a:rPr lang="en-US" noProof="0"/>
              <a:t>ANFA NW Conference 2023</a:t>
            </a:r>
            <a:endParaRPr lang="en-US" noProof="0" dirty="0"/>
          </a:p>
        </p:txBody>
      </p:sp>
      <p:sp>
        <p:nvSpPr>
          <p:cNvPr id="9" name="Slide Number Placeholder 8"/>
          <p:cNvSpPr>
            <a:spLocks noGrp="1"/>
          </p:cNvSpPr>
          <p:nvPr>
            <p:ph type="sldNum" sz="quarter" idx="14"/>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4" name="Inhaltsplatzhalter 3"/>
          <p:cNvSpPr>
            <a:spLocks noGrp="1"/>
          </p:cNvSpPr>
          <p:nvPr>
            <p:ph sz="quarter" idx="15" hasCustomPrompt="1"/>
          </p:nvPr>
        </p:nvSpPr>
        <p:spPr bwMode="gray">
          <a:xfrm>
            <a:off x="481013" y="1341561"/>
            <a:ext cx="3455987" cy="4751263"/>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Inhaltsplatzhalter 3"/>
          <p:cNvSpPr>
            <a:spLocks noGrp="1"/>
          </p:cNvSpPr>
          <p:nvPr>
            <p:ph sz="quarter" idx="16" hasCustomPrompt="1"/>
          </p:nvPr>
        </p:nvSpPr>
        <p:spPr bwMode="gray">
          <a:xfrm>
            <a:off x="4370375" y="1341561"/>
            <a:ext cx="3456000" cy="4751263"/>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Inhaltsplatzhalter 3"/>
          <p:cNvSpPr>
            <a:spLocks noGrp="1"/>
          </p:cNvSpPr>
          <p:nvPr>
            <p:ph sz="quarter" idx="17" hasCustomPrompt="1"/>
          </p:nvPr>
        </p:nvSpPr>
        <p:spPr bwMode="gray">
          <a:xfrm>
            <a:off x="8259390" y="1341561"/>
            <a:ext cx="3456000" cy="4751263"/>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itel 2">
            <a:extLst>
              <a:ext uri="{FF2B5EF4-FFF2-40B4-BE49-F238E27FC236}">
                <a16:creationId xmlns:a16="http://schemas.microsoft.com/office/drawing/2014/main" id="{49F29200-8E1F-4425-808C-B95D96BE48D7}"/>
              </a:ext>
            </a:extLst>
          </p:cNvPr>
          <p:cNvSpPr>
            <a:spLocks noGrp="1"/>
          </p:cNvSpPr>
          <p:nvPr>
            <p:ph type="title" hasCustomPrompt="1"/>
          </p:nvPr>
        </p:nvSpPr>
        <p:spPr bwMode="gray"/>
        <p:txBody>
          <a:bodyPr/>
          <a:lstStyle>
            <a:lvl1pPr>
              <a:defRPr/>
            </a:lvl1pPr>
          </a:lstStyle>
          <a:p>
            <a:r>
              <a:rPr lang="en-US" noProof="0" dirty="0"/>
              <a:t>Headline in maximum 2 lines, </a:t>
            </a:r>
            <a:br>
              <a:rPr lang="en-US" noProof="0" dirty="0"/>
            </a:br>
            <a:r>
              <a:rPr lang="en-US" noProof="0" dirty="0"/>
              <a:t>Arial bold 24pt, blue gradient, line spacing 0.9</a:t>
            </a:r>
            <a:endParaRPr lang="en-US" dirty="0"/>
          </a:p>
        </p:txBody>
      </p:sp>
    </p:spTree>
    <p:extLst>
      <p:ext uri="{BB962C8B-B14F-4D97-AF65-F5344CB8AC3E}">
        <p14:creationId xmlns:p14="http://schemas.microsoft.com/office/powerpoint/2010/main" val="2187091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mp; picture">
    <p:spTree>
      <p:nvGrpSpPr>
        <p:cNvPr id="1" name=""/>
        <p:cNvGrpSpPr/>
        <p:nvPr/>
      </p:nvGrpSpPr>
      <p:grpSpPr>
        <a:xfrm>
          <a:off x="0" y="0"/>
          <a:ext cx="0" cy="0"/>
          <a:chOff x="0" y="0"/>
          <a:chExt cx="0" cy="0"/>
        </a:xfrm>
      </p:grpSpPr>
      <p:sp>
        <p:nvSpPr>
          <p:cNvPr id="13" name="Bildplatzhalter 7"/>
          <p:cNvSpPr>
            <a:spLocks noGrp="1"/>
          </p:cNvSpPr>
          <p:nvPr>
            <p:ph type="pic" sz="quarter" idx="15" hasCustomPrompt="1"/>
          </p:nvPr>
        </p:nvSpPr>
        <p:spPr bwMode="gray">
          <a:xfrm>
            <a:off x="8258175" y="1412875"/>
            <a:ext cx="3455988" cy="4679950"/>
          </a:xfrm>
          <a:prstGeom prst="rect">
            <a:avLst/>
          </a:prstGeom>
          <a:solidFill>
            <a:srgbClr val="CCD9E7"/>
          </a:solidFill>
        </p:spPr>
        <p:txBody>
          <a:bodyPr vert="horz"/>
          <a:lstStyle>
            <a:lvl1pPr>
              <a:defRPr sz="1100" b="0">
                <a:solidFill>
                  <a:schemeClr val="tx2"/>
                </a:solidFill>
              </a:defRPr>
            </a:lvl1pPr>
          </a:lstStyle>
          <a:p>
            <a:r>
              <a:rPr lang="en-US" noProof="0" dirty="0"/>
              <a:t>Click on the symbol to insert a picture</a:t>
            </a:r>
          </a:p>
        </p:txBody>
      </p:sp>
      <p:sp>
        <p:nvSpPr>
          <p:cNvPr id="5" name="Date Placeholder 4"/>
          <p:cNvSpPr>
            <a:spLocks noGrp="1"/>
          </p:cNvSpPr>
          <p:nvPr>
            <p:ph type="dt" sz="half" idx="17"/>
          </p:nvPr>
        </p:nvSpPr>
        <p:spPr bwMode="gray"/>
        <p:txBody>
          <a:bodyPr/>
          <a:lstStyle/>
          <a:p>
            <a:fld id="{C94574B7-D03F-4A0F-8B07-D167D8002AC7}" type="datetime1">
              <a:rPr lang="en-US" altLang="zh-CN" noProof="0" smtClean="0"/>
              <a:t>11/19/2023</a:t>
            </a:fld>
            <a:endParaRPr lang="en-US" noProof="0" dirty="0"/>
          </a:p>
        </p:txBody>
      </p:sp>
      <p:sp>
        <p:nvSpPr>
          <p:cNvPr id="6" name="Footer Placeholder 5"/>
          <p:cNvSpPr>
            <a:spLocks noGrp="1"/>
          </p:cNvSpPr>
          <p:nvPr>
            <p:ph type="ftr" sz="quarter" idx="18"/>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9"/>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4" name="Inhaltsplatzhalter 3"/>
          <p:cNvSpPr>
            <a:spLocks noGrp="1"/>
          </p:cNvSpPr>
          <p:nvPr>
            <p:ph sz="quarter" idx="20" hasCustomPrompt="1"/>
          </p:nvPr>
        </p:nvSpPr>
        <p:spPr bwMode="gray">
          <a:xfrm>
            <a:off x="481013" y="1341561"/>
            <a:ext cx="7345362" cy="4751263"/>
          </a:xfrm>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 name="Titel 2">
            <a:extLst>
              <a:ext uri="{FF2B5EF4-FFF2-40B4-BE49-F238E27FC236}">
                <a16:creationId xmlns:a16="http://schemas.microsoft.com/office/drawing/2014/main" id="{461B549C-0D85-43DA-85F4-E1B3F86F9492}"/>
              </a:ext>
            </a:extLst>
          </p:cNvPr>
          <p:cNvSpPr>
            <a:spLocks noGrp="1"/>
          </p:cNvSpPr>
          <p:nvPr>
            <p:ph type="title" hasCustomPrompt="1"/>
          </p:nvPr>
        </p:nvSpPr>
        <p:spPr bwMode="gray"/>
        <p:txBody>
          <a:bodyPr/>
          <a:lstStyle>
            <a:lvl1pPr>
              <a:defRPr/>
            </a:lvl1pPr>
          </a:lstStyle>
          <a:p>
            <a:r>
              <a:rPr lang="en-US" noProof="0" dirty="0"/>
              <a:t>Headline in maximum 2 lines, </a:t>
            </a:r>
            <a:br>
              <a:rPr lang="en-US" noProof="0" dirty="0"/>
            </a:br>
            <a:r>
              <a:rPr lang="en-US" noProof="0" dirty="0"/>
              <a:t>Arial bold 24pt, blue gradient, line spacing 0.9</a:t>
            </a:r>
            <a:endParaRPr lang="en-US" dirty="0"/>
          </a:p>
        </p:txBody>
      </p:sp>
    </p:spTree>
    <p:extLst>
      <p:ext uri="{BB962C8B-B14F-4D97-AF65-F5344CB8AC3E}">
        <p14:creationId xmlns:p14="http://schemas.microsoft.com/office/powerpoint/2010/main" val="5570365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Folie" r:id="rId4" imgW="6350000" imgH="6350000" progId="TCLayout.ActiveDocument.1">
                  <p:embed/>
                </p:oleObj>
              </mc:Choice>
              <mc:Fallback>
                <p:oleObj name="think-cell Folie" r:id="rId4" imgW="6350000" imgH="6350000" progId="TCLayout.ActiveDocument.1">
                  <p:embed/>
                  <p:pic>
                    <p:nvPicPr>
                      <p:cNvPr id="3" name="Objek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ate Placeholder 4"/>
          <p:cNvSpPr>
            <a:spLocks noGrp="1"/>
          </p:cNvSpPr>
          <p:nvPr>
            <p:ph type="dt" sz="half" idx="10"/>
          </p:nvPr>
        </p:nvSpPr>
        <p:spPr bwMode="gray"/>
        <p:txBody>
          <a:bodyPr/>
          <a:lstStyle/>
          <a:p>
            <a:fld id="{0759358A-DE3A-4B31-B22B-9D93C350BE29}" type="datetime1">
              <a:rPr lang="en-US" altLang="zh-CN" noProof="0" smtClean="0"/>
              <a:t>11/19/2023</a:t>
            </a:fld>
            <a:endParaRPr lang="en-US" noProof="0" dirty="0"/>
          </a:p>
        </p:txBody>
      </p:sp>
      <p:sp>
        <p:nvSpPr>
          <p:cNvPr id="6" name="Footer Placeholder 5"/>
          <p:cNvSpPr>
            <a:spLocks noGrp="1"/>
          </p:cNvSpPr>
          <p:nvPr>
            <p:ph type="ftr" sz="quarter" idx="11"/>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2"/>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4" name="Titel 3">
            <a:extLst>
              <a:ext uri="{FF2B5EF4-FFF2-40B4-BE49-F238E27FC236}">
                <a16:creationId xmlns:a16="http://schemas.microsoft.com/office/drawing/2014/main" id="{63E43675-C064-4127-8A36-B5D7F36A084D}"/>
              </a:ext>
            </a:extLst>
          </p:cNvPr>
          <p:cNvSpPr>
            <a:spLocks noGrp="1"/>
          </p:cNvSpPr>
          <p:nvPr>
            <p:ph type="title" hasCustomPrompt="1"/>
          </p:nvPr>
        </p:nvSpPr>
        <p:spPr bwMode="gray"/>
        <p:txBody>
          <a:bodyPr/>
          <a:lstStyle>
            <a:lvl1pPr>
              <a:defRPr/>
            </a:lvl1pPr>
          </a:lstStyle>
          <a:p>
            <a:r>
              <a:rPr lang="en-US" noProof="0" dirty="0"/>
              <a:t>Headline in maximum 2 lines, </a:t>
            </a:r>
            <a:br>
              <a:rPr lang="en-US" noProof="0" dirty="0"/>
            </a:br>
            <a:r>
              <a:rPr lang="en-US" noProof="0" dirty="0"/>
              <a:t>Arial bold 24pt, blue gradient, line spacing 0.9</a:t>
            </a:r>
            <a:endParaRPr lang="en-US" dirty="0"/>
          </a:p>
        </p:txBody>
      </p:sp>
    </p:spTree>
    <p:extLst>
      <p:ext uri="{BB962C8B-B14F-4D97-AF65-F5344CB8AC3E}">
        <p14:creationId xmlns:p14="http://schemas.microsoft.com/office/powerpoint/2010/main" val="16375178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ue gradient">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B30DB13F-9269-46AB-8DBA-877A75C883FD}"/>
              </a:ext>
            </a:extLst>
          </p:cNvPr>
          <p:cNvSpPr>
            <a:spLocks/>
          </p:cNvSpPr>
          <p:nvPr userDrawn="1">
            <p:custDataLst>
              <p:tags r:id="rId2"/>
            </p:custDataLst>
          </p:nvPr>
        </p:nvSpPr>
        <p:spPr bwMode="gray">
          <a:xfrm>
            <a:off x="0" y="0"/>
            <a:ext cx="12195175" cy="6094106"/>
          </a:xfrm>
          <a:prstGeom prst="rect">
            <a:avLst/>
          </a:prstGeom>
          <a:gradFill flip="none" rotWithShape="1">
            <a:gsLst>
              <a:gs pos="0">
                <a:srgbClr val="00A6DE"/>
              </a:gs>
              <a:gs pos="100000">
                <a:schemeClr val="accent1"/>
              </a:gs>
            </a:gsLst>
            <a:lin ang="2400000" scaled="0"/>
            <a:tileRect/>
          </a:gra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600" dirty="0">
              <a:solidFill>
                <a:schemeClr val="tx1"/>
              </a:solidFill>
            </a:endParaRPr>
          </a:p>
        </p:txBody>
      </p:sp>
      <p:graphicFrame>
        <p:nvGraphicFramePr>
          <p:cNvPr id="3" name="Objekt 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Folie" r:id="rId5" imgW="6350000" imgH="6350000" progId="TCLayout.ActiveDocument.1">
                  <p:embed/>
                </p:oleObj>
              </mc:Choice>
              <mc:Fallback>
                <p:oleObj name="think-cell Folie" r:id="rId5" imgW="6350000" imgH="6350000" progId="TCLayout.ActiveDocument.1">
                  <p:embed/>
                  <p:pic>
                    <p:nvPicPr>
                      <p:cNvPr id="3" name="Objek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ate Placeholder 4"/>
          <p:cNvSpPr>
            <a:spLocks noGrp="1"/>
          </p:cNvSpPr>
          <p:nvPr>
            <p:ph type="dt" sz="half" idx="10"/>
          </p:nvPr>
        </p:nvSpPr>
        <p:spPr bwMode="gray"/>
        <p:txBody>
          <a:bodyPr/>
          <a:lstStyle/>
          <a:p>
            <a:fld id="{D2303F6E-06FE-4B2B-A1C6-64B0D1FB9D1C}" type="datetime1">
              <a:rPr lang="en-US" altLang="zh-CN" noProof="0" smtClean="0"/>
              <a:t>11/19/2023</a:t>
            </a:fld>
            <a:endParaRPr lang="en-US" noProof="0" dirty="0"/>
          </a:p>
        </p:txBody>
      </p:sp>
      <p:sp>
        <p:nvSpPr>
          <p:cNvPr id="6" name="Footer Placeholder 5"/>
          <p:cNvSpPr>
            <a:spLocks noGrp="1"/>
          </p:cNvSpPr>
          <p:nvPr>
            <p:ph type="ftr" sz="quarter" idx="11"/>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2"/>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4" name="Titel 3">
            <a:extLst>
              <a:ext uri="{FF2B5EF4-FFF2-40B4-BE49-F238E27FC236}">
                <a16:creationId xmlns:a16="http://schemas.microsoft.com/office/drawing/2014/main" id="{63E43675-C064-4127-8A36-B5D7F36A084D}"/>
              </a:ext>
            </a:extLst>
          </p:cNvPr>
          <p:cNvSpPr>
            <a:spLocks noGrp="1"/>
          </p:cNvSpPr>
          <p:nvPr>
            <p:ph type="title" hasCustomPrompt="1"/>
          </p:nvPr>
        </p:nvSpPr>
        <p:spPr bwMode="gray"/>
        <p:txBody>
          <a:bodyPr/>
          <a:lstStyle>
            <a:lvl1pPr>
              <a:defRPr>
                <a:solidFill>
                  <a:schemeClr val="bg1"/>
                </a:solidFill>
              </a:defRPr>
            </a:lvl1pPr>
          </a:lstStyle>
          <a:p>
            <a:r>
              <a:rPr lang="en-US" noProof="0" dirty="0"/>
              <a:t>Headline in maximum 2 lines, </a:t>
            </a:r>
            <a:br>
              <a:rPr lang="en-US" noProof="0" dirty="0"/>
            </a:br>
            <a:r>
              <a:rPr lang="en-US" noProof="0" dirty="0"/>
              <a:t>Arial bold 24pt, blue gradient, line spacing 0.9</a:t>
            </a:r>
            <a:endParaRPr lang="en-US" dirty="0"/>
          </a:p>
        </p:txBody>
      </p:sp>
    </p:spTree>
    <p:extLst>
      <p:ext uri="{BB962C8B-B14F-4D97-AF65-F5344CB8AC3E}">
        <p14:creationId xmlns:p14="http://schemas.microsoft.com/office/powerpoint/2010/main" val="33673771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0" name="think-cell Folie" r:id="rId4" imgW="6350000" imgH="6350000" progId="TCLayout.ActiveDocument.1">
                  <p:embed/>
                </p:oleObj>
              </mc:Choice>
              <mc:Fallback>
                <p:oleObj name="think-cell Folie" r:id="rId4" imgW="6350000" imgH="6350000" progId="TCLayout.ActiveDocument.1">
                  <p:embed/>
                  <p:pic>
                    <p:nvPicPr>
                      <p:cNvPr id="3" name="Objek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Date Placeholder 4"/>
          <p:cNvSpPr>
            <a:spLocks noGrp="1"/>
          </p:cNvSpPr>
          <p:nvPr>
            <p:ph type="dt" sz="half" idx="10"/>
          </p:nvPr>
        </p:nvSpPr>
        <p:spPr bwMode="gray"/>
        <p:txBody>
          <a:bodyPr/>
          <a:lstStyle/>
          <a:p>
            <a:fld id="{2430ABDD-11FF-4802-AA06-4AB76A5AB16C}" type="datetime1">
              <a:rPr lang="en-US" altLang="zh-CN" noProof="0" smtClean="0"/>
              <a:t>11/19/2023</a:t>
            </a:fld>
            <a:endParaRPr lang="en-US" noProof="0" dirty="0"/>
          </a:p>
        </p:txBody>
      </p:sp>
      <p:sp>
        <p:nvSpPr>
          <p:cNvPr id="6" name="Footer Placeholder 5"/>
          <p:cNvSpPr>
            <a:spLocks noGrp="1"/>
          </p:cNvSpPr>
          <p:nvPr>
            <p:ph type="ftr" sz="quarter" idx="11"/>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2"/>
          </p:nvPr>
        </p:nvSpPr>
        <p:spPr bwMode="gray"/>
        <p:txBody>
          <a:bodyPr/>
          <a:lstStyle/>
          <a:p>
            <a:r>
              <a:rPr lang="en-US" noProof="0" dirty="0"/>
              <a:t>Page </a:t>
            </a:r>
            <a:fld id="{CDF7CB8E-0C0F-4AA4-8EC3-057F9A13ED4A}" type="slidenum">
              <a:rPr lang="en-US" noProof="0" smtClean="0"/>
              <a:pPr/>
              <a:t>‹#›</a:t>
            </a:fld>
            <a:endParaRPr lang="en-US" noProof="0" dirty="0"/>
          </a:p>
        </p:txBody>
      </p:sp>
    </p:spTree>
    <p:extLst>
      <p:ext uri="{BB962C8B-B14F-4D97-AF65-F5344CB8AC3E}">
        <p14:creationId xmlns:p14="http://schemas.microsoft.com/office/powerpoint/2010/main" val="32528869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23554"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2120" y="1590"/>
                        <a:ext cx="2117" cy="1587"/>
                      </a:xfrm>
                      <a:prstGeom prst="rect">
                        <a:avLst/>
                      </a:prstGeom>
                    </p:spPr>
                  </p:pic>
                </p:oleObj>
              </mc:Fallback>
            </mc:AlternateContent>
          </a:graphicData>
        </a:graphic>
      </p:graphicFrame>
      <p:sp>
        <p:nvSpPr>
          <p:cNvPr id="5" name="Date Placeholder 4"/>
          <p:cNvSpPr>
            <a:spLocks noGrp="1"/>
          </p:cNvSpPr>
          <p:nvPr>
            <p:ph type="dt" sz="half" idx="15"/>
          </p:nvPr>
        </p:nvSpPr>
        <p:spPr bwMode="gray"/>
        <p:txBody>
          <a:bodyPr/>
          <a:lstStyle>
            <a:lvl1pPr>
              <a:defRPr baseline="0"/>
            </a:lvl1pPr>
          </a:lstStyle>
          <a:p>
            <a:fld id="{9C963B41-EBA2-4F43-8EAB-D31EFD91A5A0}" type="datetime1">
              <a:rPr lang="en-US" altLang="zh-CN" smtClean="0"/>
              <a:t>11/19/2023</a:t>
            </a:fld>
            <a:endParaRPr lang="en-US" dirty="0"/>
          </a:p>
        </p:txBody>
      </p:sp>
      <p:sp>
        <p:nvSpPr>
          <p:cNvPr id="6" name="Footer Placeholder 5"/>
          <p:cNvSpPr>
            <a:spLocks noGrp="1"/>
          </p:cNvSpPr>
          <p:nvPr>
            <p:ph type="ftr" sz="quarter" idx="16"/>
          </p:nvPr>
        </p:nvSpPr>
        <p:spPr bwMode="gray"/>
        <p:txBody>
          <a:bodyPr/>
          <a:lstStyle>
            <a:lvl1pPr>
              <a:defRPr baseline="0"/>
            </a:lvl1pPr>
          </a:lstStyle>
          <a:p>
            <a:r>
              <a:rPr lang="en-US"/>
              <a:t>ANFA NW Conference 2023</a:t>
            </a:r>
            <a:endParaRPr lang="en-US" dirty="0"/>
          </a:p>
        </p:txBody>
      </p:sp>
      <p:sp>
        <p:nvSpPr>
          <p:cNvPr id="7" name="Slide Number Placeholder 6"/>
          <p:cNvSpPr>
            <a:spLocks noGrp="1"/>
          </p:cNvSpPr>
          <p:nvPr>
            <p:ph type="sldNum" sz="quarter" idx="17"/>
          </p:nvPr>
        </p:nvSpPr>
        <p:spPr bwMode="gray"/>
        <p:txBody>
          <a:bodyPr/>
          <a:lstStyle>
            <a:lvl1pPr>
              <a:defRPr baseline="0"/>
            </a:lvl1pPr>
          </a:lstStyle>
          <a:p>
            <a:r>
              <a:rPr lang="en-US" dirty="0"/>
              <a:t>Page </a:t>
            </a:r>
            <a:fld id="{CDF7CB8E-0C0F-4AA4-8EC3-057F9A13ED4A}" type="slidenum">
              <a:rPr lang="en-US" smtClean="0"/>
              <a:pPr/>
              <a:t>‹#›</a:t>
            </a:fld>
            <a:endParaRPr lang="en-US" dirty="0"/>
          </a:p>
        </p:txBody>
      </p:sp>
      <p:sp>
        <p:nvSpPr>
          <p:cNvPr id="3" name="Titel 2"/>
          <p:cNvSpPr>
            <a:spLocks noGrp="1"/>
          </p:cNvSpPr>
          <p:nvPr>
            <p:ph type="title" hasCustomPrompt="1"/>
          </p:nvPr>
        </p:nvSpPr>
        <p:spPr bwMode="gray">
          <a:xfrm>
            <a:off x="481013" y="2061642"/>
            <a:ext cx="11233149" cy="777875"/>
          </a:xfrm>
        </p:spPr>
        <p:txBody>
          <a:bodyPr/>
          <a:lstStyle>
            <a:lvl1pPr>
              <a:defRPr sz="4000" baseline="0"/>
            </a:lvl1pPr>
          </a:lstStyle>
          <a:p>
            <a:r>
              <a:rPr lang="en-US" noProof="0" dirty="0"/>
              <a:t>Thank you!</a:t>
            </a:r>
          </a:p>
        </p:txBody>
      </p:sp>
      <p:sp>
        <p:nvSpPr>
          <p:cNvPr id="15" name="Freeform 5">
            <a:extLst>
              <a:ext uri="{FF2B5EF4-FFF2-40B4-BE49-F238E27FC236}">
                <a16:creationId xmlns:a16="http://schemas.microsoft.com/office/drawing/2014/main" id="{24BB4FA8-6241-E6C1-57D7-A4D48707C8C5}"/>
              </a:ext>
            </a:extLst>
          </p:cNvPr>
          <p:cNvSpPr>
            <a:spLocks noChangeAspect="1"/>
          </p:cNvSpPr>
          <p:nvPr userDrawn="1"/>
        </p:nvSpPr>
        <p:spPr bwMode="auto">
          <a:xfrm>
            <a:off x="-17013" y="2727325"/>
            <a:ext cx="12229200" cy="2478956"/>
          </a:xfrm>
          <a:custGeom>
            <a:avLst/>
            <a:gdLst>
              <a:gd name="T0" fmla="*/ 0 w 15603"/>
              <a:gd name="T1" fmla="*/ 1163 h 3156"/>
              <a:gd name="T2" fmla="*/ 15603 w 15603"/>
              <a:gd name="T3" fmla="*/ 0 h 3156"/>
            </a:gdLst>
            <a:ahLst/>
            <a:cxnLst>
              <a:cxn ang="0">
                <a:pos x="T0" y="T1"/>
              </a:cxn>
              <a:cxn ang="0">
                <a:pos x="T2" y="T3"/>
              </a:cxn>
            </a:cxnLst>
            <a:rect l="0" t="0" r="r" b="b"/>
            <a:pathLst>
              <a:path w="15603" h="3156">
                <a:moveTo>
                  <a:pt x="0" y="1163"/>
                </a:moveTo>
                <a:cubicBezTo>
                  <a:pt x="165" y="1194"/>
                  <a:pt x="9524" y="3156"/>
                  <a:pt x="15603" y="0"/>
                </a:cubicBezTo>
              </a:path>
            </a:pathLst>
          </a:custGeom>
          <a:noFill/>
          <a:ln w="28575" cap="flat">
            <a:solidFill>
              <a:srgbClr val="00A6E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1149582220"/>
      </p:ext>
    </p:extLst>
  </p:cSld>
  <p:clrMapOvr>
    <a:masterClrMapping/>
  </p:clrMapOvr>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Tutorial page 8">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2457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20" y="1590"/>
                        <a:ext cx="2117" cy="1587"/>
                      </a:xfrm>
                      <a:prstGeom prst="rect">
                        <a:avLst/>
                      </a:prstGeom>
                    </p:spPr>
                  </p:pic>
                </p:oleObj>
              </mc:Fallback>
            </mc:AlternateContent>
          </a:graphicData>
        </a:graphic>
      </p:graphicFrame>
      <p:sp>
        <p:nvSpPr>
          <p:cNvPr id="2" name="Title 1"/>
          <p:cNvSpPr>
            <a:spLocks noGrp="1"/>
          </p:cNvSpPr>
          <p:nvPr>
            <p:ph type="title" hasCustomPrompt="1"/>
          </p:nvPr>
        </p:nvSpPr>
        <p:spPr>
          <a:xfrm>
            <a:off x="417709" y="264221"/>
            <a:ext cx="11777466" cy="1073319"/>
          </a:xfrm>
          <a:noFill/>
        </p:spPr>
        <p:txBody>
          <a:bodyPr/>
          <a:lstStyle>
            <a:lvl1pPr>
              <a:defRPr baseline="0"/>
            </a:lvl1pPr>
          </a:lstStyle>
          <a:p>
            <a:pPr lvl="0"/>
            <a:r>
              <a:rPr lang="en-US" dirty="0"/>
              <a:t>Freudenberg ppt presentation: </a:t>
            </a:r>
            <a:br>
              <a:rPr lang="en-US" dirty="0"/>
            </a:br>
            <a:r>
              <a:rPr lang="en-US" dirty="0"/>
              <a:t>RGB-Colors</a:t>
            </a:r>
          </a:p>
        </p:txBody>
      </p:sp>
      <p:sp>
        <p:nvSpPr>
          <p:cNvPr id="60" name="Textplatzhalter 37"/>
          <p:cNvSpPr txBox="1">
            <a:spLocks/>
          </p:cNvSpPr>
          <p:nvPr userDrawn="1"/>
        </p:nvSpPr>
        <p:spPr>
          <a:xfrm>
            <a:off x="529513" y="1700510"/>
            <a:ext cx="925888" cy="776431"/>
          </a:xfrm>
          <a:prstGeom prst="rect">
            <a:avLst/>
          </a:prstGeom>
        </p:spPr>
        <p:txBody>
          <a:bodyPr vert="horz" wrap="square" lIns="0" tIns="0" rIns="0" bIns="0">
            <a:spAutoFit/>
          </a:bodyPr>
          <a:lstStyle>
            <a:lvl1pPr marL="0" indent="0" algn="l" defTabSz="914400" rtl="0" eaLnBrk="1" latinLnBrk="0" hangingPunct="1">
              <a:lnSpc>
                <a:spcPct val="120000"/>
              </a:lnSpc>
              <a:spcBef>
                <a:spcPts val="0"/>
              </a:spcBef>
              <a:buClr>
                <a:srgbClr val="004388"/>
              </a:buClr>
              <a:buSzPct val="150000"/>
              <a:buFontTx/>
              <a:buNone/>
              <a:defRPr sz="2400" b="1" i="0" kern="1200" baseline="0">
                <a:solidFill>
                  <a:srgbClr val="000000"/>
                </a:solidFill>
                <a:latin typeface="Arial"/>
                <a:ea typeface="+mn-ea"/>
                <a:cs typeface="Arial" panose="020B0604020202020204" pitchFamily="34" charset="0"/>
              </a:defRPr>
            </a:lvl1pPr>
            <a:lvl2pPr marL="538163" indent="-268288" algn="l" defTabSz="914400" rtl="0" eaLnBrk="1" latinLnBrk="0" hangingPunct="1">
              <a:lnSpc>
                <a:spcPct val="120000"/>
              </a:lnSpc>
              <a:spcBef>
                <a:spcPts val="0"/>
              </a:spcBef>
              <a:buClr>
                <a:srgbClr val="004388"/>
              </a:buClr>
              <a:buFont typeface="Symbol" panose="05050102010706020507" pitchFamily="18" charset="2"/>
              <a:buChar char=""/>
              <a:defRPr sz="1600" kern="1200">
                <a:solidFill>
                  <a:srgbClr val="000000"/>
                </a:solidFill>
                <a:latin typeface="Arial" panose="020B0604020202020204" pitchFamily="34" charset="0"/>
                <a:ea typeface="+mn-ea"/>
                <a:cs typeface="Arial" panose="020B0604020202020204" pitchFamily="34" charset="0"/>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latin typeface="+mj-lt"/>
              </a:rPr>
              <a:t>Colors:</a:t>
            </a:r>
          </a:p>
          <a:p>
            <a:pPr>
              <a:lnSpc>
                <a:spcPct val="100000"/>
              </a:lnSpc>
            </a:pPr>
            <a:r>
              <a:rPr lang="en-US" sz="1600">
                <a:latin typeface="+mj-lt"/>
              </a:rPr>
              <a:t>solid </a:t>
            </a:r>
          </a:p>
          <a:p>
            <a:endParaRPr lang="en-US" sz="1400">
              <a:latin typeface="+mj-lt"/>
            </a:endParaRPr>
          </a:p>
        </p:txBody>
      </p:sp>
      <p:sp>
        <p:nvSpPr>
          <p:cNvPr id="95" name="Textplatzhalter 37"/>
          <p:cNvSpPr txBox="1">
            <a:spLocks/>
          </p:cNvSpPr>
          <p:nvPr userDrawn="1"/>
        </p:nvSpPr>
        <p:spPr>
          <a:xfrm>
            <a:off x="533538" y="2747673"/>
            <a:ext cx="1057806" cy="563744"/>
          </a:xfrm>
          <a:prstGeom prst="rect">
            <a:avLst/>
          </a:prstGeom>
        </p:spPr>
        <p:txBody>
          <a:bodyPr vert="horz" wrap="square" lIns="0" tIns="0" rIns="0" bIns="0">
            <a:spAutoFit/>
          </a:bodyPr>
          <a:lstStyle>
            <a:lvl1pPr marL="0" indent="0" algn="l" defTabSz="914400" rtl="0" eaLnBrk="1" latinLnBrk="0" hangingPunct="1">
              <a:lnSpc>
                <a:spcPct val="120000"/>
              </a:lnSpc>
              <a:spcBef>
                <a:spcPts val="0"/>
              </a:spcBef>
              <a:buClr>
                <a:srgbClr val="004388"/>
              </a:buClr>
              <a:buSzPct val="150000"/>
              <a:buFontTx/>
              <a:buNone/>
              <a:defRPr sz="2400" b="1" i="0" kern="1200" baseline="0">
                <a:solidFill>
                  <a:srgbClr val="000000"/>
                </a:solidFill>
                <a:latin typeface="Arial"/>
                <a:ea typeface="+mn-ea"/>
                <a:cs typeface="Arial" panose="020B0604020202020204" pitchFamily="34" charset="0"/>
              </a:defRPr>
            </a:lvl1pPr>
            <a:lvl2pPr marL="538163" indent="-268288" algn="l" defTabSz="914400" rtl="0" eaLnBrk="1" latinLnBrk="0" hangingPunct="1">
              <a:lnSpc>
                <a:spcPct val="120000"/>
              </a:lnSpc>
              <a:spcBef>
                <a:spcPts val="0"/>
              </a:spcBef>
              <a:buClr>
                <a:srgbClr val="004388"/>
              </a:buClr>
              <a:buFont typeface="Symbol" panose="05050102010706020507" pitchFamily="18" charset="2"/>
              <a:buChar char=""/>
              <a:defRPr sz="1600" kern="1200">
                <a:solidFill>
                  <a:srgbClr val="000000"/>
                </a:solidFill>
                <a:latin typeface="Arial" panose="020B0604020202020204" pitchFamily="34" charset="0"/>
                <a:ea typeface="+mn-ea"/>
                <a:cs typeface="Arial" panose="020B0604020202020204" pitchFamily="34" charset="0"/>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latin typeface="+mj-lt"/>
              </a:rPr>
              <a:t>50% </a:t>
            </a:r>
            <a:br>
              <a:rPr lang="en-US" sz="1600">
                <a:latin typeface="+mj-lt"/>
              </a:rPr>
            </a:br>
            <a:r>
              <a:rPr lang="en-US" sz="1600">
                <a:latin typeface="+mj-lt"/>
              </a:rPr>
              <a:t>of solid</a:t>
            </a:r>
          </a:p>
        </p:txBody>
      </p:sp>
      <p:sp>
        <p:nvSpPr>
          <p:cNvPr id="9" name="Date Placeholder 8"/>
          <p:cNvSpPr>
            <a:spLocks noGrp="1"/>
          </p:cNvSpPr>
          <p:nvPr>
            <p:ph type="dt" sz="half" idx="10"/>
          </p:nvPr>
        </p:nvSpPr>
        <p:spPr/>
        <p:txBody>
          <a:bodyPr/>
          <a:lstStyle/>
          <a:p>
            <a:fld id="{0AD6E172-9AD1-4D63-AAC5-00E51AF5BEEC}" type="datetime1">
              <a:rPr lang="en-US" altLang="zh-CN" smtClean="0"/>
              <a:t>11/19/2023</a:t>
            </a:fld>
            <a:endParaRPr lang="en-US"/>
          </a:p>
        </p:txBody>
      </p:sp>
      <p:sp>
        <p:nvSpPr>
          <p:cNvPr id="10" name="Footer Placeholder 9"/>
          <p:cNvSpPr>
            <a:spLocks noGrp="1"/>
          </p:cNvSpPr>
          <p:nvPr>
            <p:ph type="ftr" sz="quarter" idx="11"/>
          </p:nvPr>
        </p:nvSpPr>
        <p:spPr/>
        <p:txBody>
          <a:bodyPr/>
          <a:lstStyle/>
          <a:p>
            <a:r>
              <a:rPr lang="en-US"/>
              <a:t>ANFA NW Conference 2023</a:t>
            </a:r>
          </a:p>
        </p:txBody>
      </p:sp>
      <p:sp>
        <p:nvSpPr>
          <p:cNvPr id="11" name="Slide Number Placeholder 10"/>
          <p:cNvSpPr>
            <a:spLocks noGrp="1"/>
          </p:cNvSpPr>
          <p:nvPr>
            <p:ph type="sldNum" sz="quarter" idx="12"/>
          </p:nvPr>
        </p:nvSpPr>
        <p:spPr/>
        <p:txBody>
          <a:bodyPr/>
          <a:lstStyle/>
          <a:p>
            <a:r>
              <a:rPr lang="en-US"/>
              <a:t>Page </a:t>
            </a:r>
            <a:fld id="{CDF7CB8E-0C0F-4AA4-8EC3-057F9A13ED4A}" type="slidenum">
              <a:rPr lang="en-US" smtClean="0"/>
              <a:pPr/>
              <a:t>‹#›</a:t>
            </a:fld>
            <a:endParaRPr lang="en-US"/>
          </a:p>
        </p:txBody>
      </p:sp>
      <p:grpSp>
        <p:nvGrpSpPr>
          <p:cNvPr id="17" name="Gruppieren 16">
            <a:extLst>
              <a:ext uri="{FF2B5EF4-FFF2-40B4-BE49-F238E27FC236}">
                <a16:creationId xmlns:a16="http://schemas.microsoft.com/office/drawing/2014/main" id="{FAC04710-228D-D015-91C4-69D85222FAA5}"/>
              </a:ext>
            </a:extLst>
          </p:cNvPr>
          <p:cNvGrpSpPr/>
          <p:nvPr userDrawn="1"/>
        </p:nvGrpSpPr>
        <p:grpSpPr>
          <a:xfrm>
            <a:off x="1655769" y="1686939"/>
            <a:ext cx="9950817" cy="4173438"/>
            <a:chOff x="1525272" y="1264911"/>
            <a:chExt cx="7461170" cy="3129354"/>
          </a:xfrm>
        </p:grpSpPr>
        <p:sp>
          <p:nvSpPr>
            <p:cNvPr id="61" name="Rechteck 19"/>
            <p:cNvSpPr/>
            <p:nvPr userDrawn="1"/>
          </p:nvSpPr>
          <p:spPr>
            <a:xfrm>
              <a:off x="1525272" y="1264911"/>
              <a:ext cx="900000" cy="432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62" name="Rechteck 20"/>
            <p:cNvSpPr/>
            <p:nvPr userDrawn="1"/>
          </p:nvSpPr>
          <p:spPr>
            <a:xfrm>
              <a:off x="5793193" y="3881260"/>
              <a:ext cx="902352" cy="429598"/>
            </a:xfrm>
            <a:prstGeom prst="rect">
              <a:avLst/>
            </a:prstGeom>
            <a:gradFill flip="none" rotWithShape="1">
              <a:gsLst>
                <a:gs pos="0">
                  <a:srgbClr val="00A6DE"/>
                </a:gs>
                <a:gs pos="100000">
                  <a:srgbClr val="005286"/>
                </a:gs>
              </a:gsLst>
              <a:lin ang="2880000" scaled="0"/>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63" name="Textplatzhalter 5"/>
            <p:cNvSpPr txBox="1">
              <a:spLocks/>
            </p:cNvSpPr>
            <p:nvPr userDrawn="1"/>
          </p:nvSpPr>
          <p:spPr>
            <a:xfrm>
              <a:off x="5731877" y="3859939"/>
              <a:ext cx="899999" cy="271394"/>
            </a:xfrm>
            <a:prstGeom prst="rect">
              <a:avLst/>
            </a:prstGeom>
          </p:spPr>
          <p:txBody>
            <a:bodyPr vert="horz"/>
            <a:lstStyle>
              <a:lvl1pPr marL="0" indent="0" algn="l" defTabSz="914400" rtl="0" eaLnBrk="1" latinLnBrk="0" hangingPunct="1">
                <a:lnSpc>
                  <a:spcPct val="120000"/>
                </a:lnSpc>
                <a:spcBef>
                  <a:spcPts val="0"/>
                </a:spcBef>
                <a:buClr>
                  <a:srgbClr val="004388"/>
                </a:buClr>
                <a:buSzPct val="150000"/>
                <a:buFontTx/>
                <a:buNone/>
                <a:defRPr sz="1500" b="1"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b="0">
                  <a:solidFill>
                    <a:schemeClr val="bg1"/>
                  </a:solidFill>
                  <a:latin typeface="+mj-lt"/>
                </a:rPr>
                <a:t>0/166/226</a:t>
              </a:r>
            </a:p>
          </p:txBody>
        </p:sp>
        <p:sp>
          <p:nvSpPr>
            <p:cNvPr id="70" name="Rechteck 19"/>
            <p:cNvSpPr/>
            <p:nvPr userDrawn="1"/>
          </p:nvSpPr>
          <p:spPr>
            <a:xfrm>
              <a:off x="2588687" y="1264911"/>
              <a:ext cx="900000" cy="432000"/>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72" name="Rechteck 19"/>
            <p:cNvSpPr/>
            <p:nvPr userDrawn="1"/>
          </p:nvSpPr>
          <p:spPr>
            <a:xfrm>
              <a:off x="3652102" y="1264911"/>
              <a:ext cx="900000" cy="432000"/>
            </a:xfrm>
            <a:prstGeom prst="rect">
              <a:avLst/>
            </a:prstGeom>
            <a:solidFill>
              <a:srgbClr val="007D4E"/>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74" name="Rechteck 19"/>
            <p:cNvSpPr/>
            <p:nvPr userDrawn="1"/>
          </p:nvSpPr>
          <p:spPr>
            <a:xfrm>
              <a:off x="4715517" y="1264911"/>
              <a:ext cx="900000" cy="432000"/>
            </a:xfrm>
            <a:prstGeom prst="rect">
              <a:avLst/>
            </a:prstGeom>
            <a:solidFill>
              <a:srgbClr val="E6332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76" name="Rechteck 19"/>
            <p:cNvSpPr/>
            <p:nvPr userDrawn="1"/>
          </p:nvSpPr>
          <p:spPr>
            <a:xfrm>
              <a:off x="5778932" y="1264911"/>
              <a:ext cx="900000" cy="432000"/>
            </a:xfrm>
            <a:prstGeom prst="rect">
              <a:avLst/>
            </a:prstGeom>
            <a:solidFill>
              <a:srgbClr val="F7A6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80" name="Rechteck 19"/>
            <p:cNvSpPr/>
            <p:nvPr userDrawn="1"/>
          </p:nvSpPr>
          <p:spPr>
            <a:xfrm>
              <a:off x="7927864" y="1264911"/>
              <a:ext cx="900000" cy="432000"/>
            </a:xfrm>
            <a:prstGeom prst="rect">
              <a:avLst/>
            </a:prstGeom>
            <a:solidFill>
              <a:srgbClr val="3F3F3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12" name="Rechteck 19">
              <a:extLst>
                <a:ext uri="{FF2B5EF4-FFF2-40B4-BE49-F238E27FC236}">
                  <a16:creationId xmlns:a16="http://schemas.microsoft.com/office/drawing/2014/main" id="{4C63E772-ED28-448C-830A-C497591AC2A6}"/>
                </a:ext>
              </a:extLst>
            </p:cNvPr>
            <p:cNvSpPr/>
            <p:nvPr userDrawn="1"/>
          </p:nvSpPr>
          <p:spPr>
            <a:xfrm>
              <a:off x="6842347" y="1264911"/>
              <a:ext cx="900000" cy="432000"/>
            </a:xfrm>
            <a:prstGeom prst="rect">
              <a:avLst/>
            </a:prstGeom>
            <a:solidFill>
              <a:srgbClr val="76B82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59" name="Textplatzhalter 5"/>
            <p:cNvSpPr txBox="1">
              <a:spLocks/>
            </p:cNvSpPr>
            <p:nvPr userDrawn="1"/>
          </p:nvSpPr>
          <p:spPr>
            <a:xfrm>
              <a:off x="1565706" y="1472247"/>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bg1"/>
                  </a:solidFill>
                  <a:latin typeface="+mj-lt"/>
                </a:rPr>
                <a:t>Basic blue	</a:t>
              </a:r>
            </a:p>
            <a:p>
              <a:pPr>
                <a:lnSpc>
                  <a:spcPct val="90000"/>
                </a:lnSpc>
                <a:tabLst>
                  <a:tab pos="599137" algn="l"/>
                </a:tabLst>
              </a:pPr>
              <a:r>
                <a:rPr lang="en-US" sz="1067">
                  <a:solidFill>
                    <a:schemeClr val="bg1"/>
                  </a:solidFill>
                  <a:latin typeface="+mj-lt"/>
                </a:rPr>
                <a:t>0/67/136</a:t>
              </a:r>
            </a:p>
          </p:txBody>
        </p:sp>
        <p:sp>
          <p:nvSpPr>
            <p:cNvPr id="69" name="Textplatzhalter 5"/>
            <p:cNvSpPr txBox="1">
              <a:spLocks/>
            </p:cNvSpPr>
            <p:nvPr userDrawn="1"/>
          </p:nvSpPr>
          <p:spPr>
            <a:xfrm>
              <a:off x="2622894" y="1479195"/>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bg1"/>
                  </a:solidFill>
                  <a:latin typeface="+mj-lt"/>
                </a:rPr>
                <a:t>Accent Blue	</a:t>
              </a:r>
            </a:p>
            <a:p>
              <a:pPr>
                <a:lnSpc>
                  <a:spcPct val="90000"/>
                </a:lnSpc>
                <a:tabLst>
                  <a:tab pos="599137" algn="l"/>
                </a:tabLst>
              </a:pPr>
              <a:r>
                <a:rPr lang="en-US" sz="1067">
                  <a:solidFill>
                    <a:schemeClr val="bg1"/>
                  </a:solidFill>
                  <a:latin typeface="+mj-lt"/>
                </a:rPr>
                <a:t>0/166/226</a:t>
              </a:r>
            </a:p>
          </p:txBody>
        </p:sp>
        <p:sp>
          <p:nvSpPr>
            <p:cNvPr id="71" name="Textplatzhalter 5"/>
            <p:cNvSpPr txBox="1">
              <a:spLocks/>
            </p:cNvSpPr>
            <p:nvPr userDrawn="1"/>
          </p:nvSpPr>
          <p:spPr>
            <a:xfrm>
              <a:off x="3683771" y="1472247"/>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bg1"/>
                  </a:solidFill>
                  <a:latin typeface="+mj-lt"/>
                </a:rPr>
                <a:t>Green	</a:t>
              </a:r>
            </a:p>
            <a:p>
              <a:pPr>
                <a:lnSpc>
                  <a:spcPct val="90000"/>
                </a:lnSpc>
                <a:tabLst>
                  <a:tab pos="599137" algn="l"/>
                </a:tabLst>
              </a:pPr>
              <a:r>
                <a:rPr lang="en-US" sz="1067">
                  <a:solidFill>
                    <a:schemeClr val="bg1"/>
                  </a:solidFill>
                  <a:latin typeface="+mj-lt"/>
                </a:rPr>
                <a:t>0/125/78</a:t>
              </a:r>
            </a:p>
          </p:txBody>
        </p:sp>
        <p:sp>
          <p:nvSpPr>
            <p:cNvPr id="73" name="Textplatzhalter 5"/>
            <p:cNvSpPr txBox="1">
              <a:spLocks/>
            </p:cNvSpPr>
            <p:nvPr userDrawn="1"/>
          </p:nvSpPr>
          <p:spPr>
            <a:xfrm>
              <a:off x="4742109" y="1479194"/>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bg1"/>
                  </a:solidFill>
                  <a:latin typeface="+mj-lt"/>
                </a:rPr>
                <a:t>Red	</a:t>
              </a:r>
            </a:p>
            <a:p>
              <a:pPr>
                <a:lnSpc>
                  <a:spcPct val="90000"/>
                </a:lnSpc>
                <a:tabLst>
                  <a:tab pos="599137" algn="l"/>
                </a:tabLst>
              </a:pPr>
              <a:r>
                <a:rPr lang="en-US" sz="1067">
                  <a:solidFill>
                    <a:schemeClr val="bg1"/>
                  </a:solidFill>
                  <a:latin typeface="+mj-lt"/>
                </a:rPr>
                <a:t>223/52/46</a:t>
              </a:r>
            </a:p>
          </p:txBody>
        </p:sp>
        <p:sp>
          <p:nvSpPr>
            <p:cNvPr id="75" name="Textplatzhalter 5"/>
            <p:cNvSpPr txBox="1">
              <a:spLocks/>
            </p:cNvSpPr>
            <p:nvPr userDrawn="1"/>
          </p:nvSpPr>
          <p:spPr>
            <a:xfrm>
              <a:off x="5811013" y="1472247"/>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bg1"/>
                  </a:solidFill>
                  <a:latin typeface="+mj-lt"/>
                </a:rPr>
                <a:t>Yellow</a:t>
              </a:r>
            </a:p>
            <a:p>
              <a:pPr>
                <a:lnSpc>
                  <a:spcPct val="90000"/>
                </a:lnSpc>
                <a:tabLst>
                  <a:tab pos="599137" algn="l"/>
                </a:tabLst>
              </a:pPr>
              <a:r>
                <a:rPr lang="en-US" sz="1067">
                  <a:solidFill>
                    <a:schemeClr val="bg1"/>
                  </a:solidFill>
                  <a:latin typeface="+mj-lt"/>
                </a:rPr>
                <a:t>247/166/0</a:t>
              </a:r>
            </a:p>
          </p:txBody>
        </p:sp>
        <p:sp>
          <p:nvSpPr>
            <p:cNvPr id="8" name="Textplatzhalter 5">
              <a:extLst>
                <a:ext uri="{FF2B5EF4-FFF2-40B4-BE49-F238E27FC236}">
                  <a16:creationId xmlns:a16="http://schemas.microsoft.com/office/drawing/2014/main" id="{0E9F1001-F38D-9011-98B1-BBE061BCA2EF}"/>
                </a:ext>
              </a:extLst>
            </p:cNvPr>
            <p:cNvSpPr txBox="1">
              <a:spLocks/>
            </p:cNvSpPr>
            <p:nvPr userDrawn="1"/>
          </p:nvSpPr>
          <p:spPr>
            <a:xfrm>
              <a:off x="6880071" y="1472247"/>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bg1"/>
                  </a:solidFill>
                  <a:latin typeface="+mj-lt"/>
                </a:rPr>
                <a:t>Bright Green</a:t>
              </a:r>
            </a:p>
            <a:p>
              <a:pPr>
                <a:lnSpc>
                  <a:spcPct val="90000"/>
                </a:lnSpc>
                <a:tabLst>
                  <a:tab pos="599137" algn="l"/>
                </a:tabLst>
              </a:pPr>
              <a:r>
                <a:rPr lang="en-US" sz="1067">
                  <a:solidFill>
                    <a:schemeClr val="bg1"/>
                  </a:solidFill>
                  <a:latin typeface="+mj-lt"/>
                </a:rPr>
                <a:t>118/184/42</a:t>
              </a:r>
            </a:p>
          </p:txBody>
        </p:sp>
        <p:sp>
          <p:nvSpPr>
            <p:cNvPr id="79" name="Textplatzhalter 5"/>
            <p:cNvSpPr txBox="1">
              <a:spLocks/>
            </p:cNvSpPr>
            <p:nvPr userDrawn="1"/>
          </p:nvSpPr>
          <p:spPr>
            <a:xfrm>
              <a:off x="7976721" y="1468524"/>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bg1"/>
                  </a:solidFill>
                  <a:latin typeface="+mj-lt"/>
                </a:rPr>
                <a:t>Dark Gray	</a:t>
              </a:r>
            </a:p>
            <a:p>
              <a:pPr>
                <a:lnSpc>
                  <a:spcPct val="90000"/>
                </a:lnSpc>
                <a:tabLst>
                  <a:tab pos="599137" algn="l"/>
                </a:tabLst>
              </a:pPr>
              <a:r>
                <a:rPr lang="en-US" sz="1067">
                  <a:solidFill>
                    <a:schemeClr val="bg1"/>
                  </a:solidFill>
                  <a:latin typeface="+mj-lt"/>
                </a:rPr>
                <a:t>63/63/63</a:t>
              </a:r>
            </a:p>
          </p:txBody>
        </p:sp>
        <p:sp>
          <p:nvSpPr>
            <p:cNvPr id="4" name="Rechteck 19">
              <a:extLst>
                <a:ext uri="{FF2B5EF4-FFF2-40B4-BE49-F238E27FC236}">
                  <a16:creationId xmlns:a16="http://schemas.microsoft.com/office/drawing/2014/main" id="{29D12D3F-42DB-F084-563D-0F630CA16827}"/>
                </a:ext>
              </a:extLst>
            </p:cNvPr>
            <p:cNvSpPr/>
            <p:nvPr userDrawn="1"/>
          </p:nvSpPr>
          <p:spPr>
            <a:xfrm>
              <a:off x="1541885" y="2050593"/>
              <a:ext cx="900000" cy="432000"/>
            </a:xfrm>
            <a:prstGeom prst="rect">
              <a:avLst/>
            </a:prstGeom>
            <a:solidFill>
              <a:srgbClr val="80A1C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5" name="Rechteck 19">
              <a:extLst>
                <a:ext uri="{FF2B5EF4-FFF2-40B4-BE49-F238E27FC236}">
                  <a16:creationId xmlns:a16="http://schemas.microsoft.com/office/drawing/2014/main" id="{08E2E0D9-43C2-E56D-E550-F69E149BDCF3}"/>
                </a:ext>
              </a:extLst>
            </p:cNvPr>
            <p:cNvSpPr/>
            <p:nvPr userDrawn="1"/>
          </p:nvSpPr>
          <p:spPr>
            <a:xfrm>
              <a:off x="2605300" y="2050593"/>
              <a:ext cx="900000" cy="432000"/>
            </a:xfrm>
            <a:prstGeom prst="rect">
              <a:avLst/>
            </a:prstGeom>
            <a:solidFill>
              <a:srgbClr val="7FD2F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6" name="Rechteck 19">
              <a:extLst>
                <a:ext uri="{FF2B5EF4-FFF2-40B4-BE49-F238E27FC236}">
                  <a16:creationId xmlns:a16="http://schemas.microsoft.com/office/drawing/2014/main" id="{FBC8CD27-6BC9-7907-CA94-046EC7BD07CC}"/>
                </a:ext>
              </a:extLst>
            </p:cNvPr>
            <p:cNvSpPr/>
            <p:nvPr userDrawn="1"/>
          </p:nvSpPr>
          <p:spPr>
            <a:xfrm>
              <a:off x="3668715" y="2050593"/>
              <a:ext cx="900000" cy="432000"/>
            </a:xfrm>
            <a:prstGeom prst="rect">
              <a:avLst/>
            </a:prstGeom>
            <a:solidFill>
              <a:srgbClr val="7FBEA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7" name="Rechteck 19">
              <a:extLst>
                <a:ext uri="{FF2B5EF4-FFF2-40B4-BE49-F238E27FC236}">
                  <a16:creationId xmlns:a16="http://schemas.microsoft.com/office/drawing/2014/main" id="{00A610EA-D746-71F4-F64A-8AAD755CCA94}"/>
                </a:ext>
              </a:extLst>
            </p:cNvPr>
            <p:cNvSpPr/>
            <p:nvPr userDrawn="1"/>
          </p:nvSpPr>
          <p:spPr>
            <a:xfrm>
              <a:off x="4726639" y="2050593"/>
              <a:ext cx="900000" cy="432000"/>
            </a:xfrm>
            <a:prstGeom prst="rect">
              <a:avLst/>
            </a:prstGeom>
            <a:solidFill>
              <a:srgbClr val="EF9A9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13" name="Rechteck 19">
              <a:extLst>
                <a:ext uri="{FF2B5EF4-FFF2-40B4-BE49-F238E27FC236}">
                  <a16:creationId xmlns:a16="http://schemas.microsoft.com/office/drawing/2014/main" id="{9DDD748C-6CD9-D54F-4492-31C34844ECD8}"/>
                </a:ext>
              </a:extLst>
            </p:cNvPr>
            <p:cNvSpPr/>
            <p:nvPr userDrawn="1"/>
          </p:nvSpPr>
          <p:spPr>
            <a:xfrm>
              <a:off x="5795545" y="2050593"/>
              <a:ext cx="900000" cy="432000"/>
            </a:xfrm>
            <a:prstGeom prst="rect">
              <a:avLst/>
            </a:prstGeom>
            <a:solidFill>
              <a:srgbClr val="FBD27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15" name="Rechteck 19">
              <a:extLst>
                <a:ext uri="{FF2B5EF4-FFF2-40B4-BE49-F238E27FC236}">
                  <a16:creationId xmlns:a16="http://schemas.microsoft.com/office/drawing/2014/main" id="{004DCC68-CF44-9F11-373B-F9018F646A6F}"/>
                </a:ext>
              </a:extLst>
            </p:cNvPr>
            <p:cNvSpPr/>
            <p:nvPr userDrawn="1"/>
          </p:nvSpPr>
          <p:spPr>
            <a:xfrm>
              <a:off x="7927866" y="2050593"/>
              <a:ext cx="900000" cy="432000"/>
            </a:xfrm>
            <a:prstGeom prst="rect">
              <a:avLst/>
            </a:prstGeom>
            <a:solidFill>
              <a:srgbClr val="9C9E9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16" name="Rechteck 19">
              <a:extLst>
                <a:ext uri="{FF2B5EF4-FFF2-40B4-BE49-F238E27FC236}">
                  <a16:creationId xmlns:a16="http://schemas.microsoft.com/office/drawing/2014/main" id="{53D0BD3C-F486-3013-7CDC-E611467E6C87}"/>
                </a:ext>
              </a:extLst>
            </p:cNvPr>
            <p:cNvSpPr/>
            <p:nvPr userDrawn="1"/>
          </p:nvSpPr>
          <p:spPr>
            <a:xfrm>
              <a:off x="6837107" y="2056369"/>
              <a:ext cx="900000" cy="432000"/>
            </a:xfrm>
            <a:prstGeom prst="rect">
              <a:avLst/>
            </a:prstGeom>
            <a:solidFill>
              <a:srgbClr val="BBDC9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94" name="Textplatzhalter 5"/>
            <p:cNvSpPr txBox="1">
              <a:spLocks/>
            </p:cNvSpPr>
            <p:nvPr userDrawn="1"/>
          </p:nvSpPr>
          <p:spPr>
            <a:xfrm>
              <a:off x="1558986" y="2253266"/>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tx1"/>
                  </a:solidFill>
                  <a:latin typeface="+mj-lt"/>
                </a:rPr>
                <a:t>	</a:t>
              </a:r>
            </a:p>
            <a:p>
              <a:pPr>
                <a:lnSpc>
                  <a:spcPct val="90000"/>
                </a:lnSpc>
                <a:tabLst>
                  <a:tab pos="599137" algn="l"/>
                </a:tabLst>
              </a:pPr>
              <a:r>
                <a:rPr lang="en-US" sz="1067">
                  <a:solidFill>
                    <a:schemeClr val="tx1"/>
                  </a:solidFill>
                  <a:latin typeface="+mj-lt"/>
                </a:rPr>
                <a:t>128/161/195</a:t>
              </a:r>
            </a:p>
          </p:txBody>
        </p:sp>
        <p:sp>
          <p:nvSpPr>
            <p:cNvPr id="97" name="Textplatzhalter 5"/>
            <p:cNvSpPr txBox="1">
              <a:spLocks/>
            </p:cNvSpPr>
            <p:nvPr userDrawn="1"/>
          </p:nvSpPr>
          <p:spPr>
            <a:xfrm>
              <a:off x="2634567" y="2266521"/>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tx1"/>
                  </a:solidFill>
                  <a:latin typeface="+mj-lt"/>
                </a:rPr>
                <a:t>	</a:t>
              </a:r>
            </a:p>
            <a:p>
              <a:pPr>
                <a:lnSpc>
                  <a:spcPct val="90000"/>
                </a:lnSpc>
                <a:tabLst>
                  <a:tab pos="599137" algn="l"/>
                </a:tabLst>
              </a:pPr>
              <a:r>
                <a:rPr lang="en-US" sz="1067">
                  <a:solidFill>
                    <a:schemeClr val="tx1"/>
                  </a:solidFill>
                  <a:latin typeface="+mj-lt"/>
                </a:rPr>
                <a:t>127/210/240</a:t>
              </a:r>
            </a:p>
          </p:txBody>
        </p:sp>
        <p:sp>
          <p:nvSpPr>
            <p:cNvPr id="99" name="Textplatzhalter 5"/>
            <p:cNvSpPr txBox="1">
              <a:spLocks/>
            </p:cNvSpPr>
            <p:nvPr userDrawn="1"/>
          </p:nvSpPr>
          <p:spPr>
            <a:xfrm>
              <a:off x="3694570" y="2261083"/>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tx1"/>
                  </a:solidFill>
                  <a:latin typeface="+mj-lt"/>
                </a:rPr>
                <a:t>	</a:t>
              </a:r>
            </a:p>
            <a:p>
              <a:pPr>
                <a:lnSpc>
                  <a:spcPct val="90000"/>
                </a:lnSpc>
                <a:tabLst>
                  <a:tab pos="599137" algn="l"/>
                </a:tabLst>
              </a:pPr>
              <a:r>
                <a:rPr lang="en-US" sz="1067">
                  <a:solidFill>
                    <a:schemeClr val="tx1"/>
                  </a:solidFill>
                  <a:latin typeface="+mj-lt"/>
                </a:rPr>
                <a:t>127/190/166</a:t>
              </a:r>
            </a:p>
          </p:txBody>
        </p:sp>
        <p:sp>
          <p:nvSpPr>
            <p:cNvPr id="18" name="Rechteck 19">
              <a:extLst>
                <a:ext uri="{FF2B5EF4-FFF2-40B4-BE49-F238E27FC236}">
                  <a16:creationId xmlns:a16="http://schemas.microsoft.com/office/drawing/2014/main" id="{B6CCDCC6-4FA2-A44D-3C8B-C22261881135}"/>
                </a:ext>
              </a:extLst>
            </p:cNvPr>
            <p:cNvSpPr/>
            <p:nvPr userDrawn="1"/>
          </p:nvSpPr>
          <p:spPr>
            <a:xfrm>
              <a:off x="1541885" y="2890154"/>
              <a:ext cx="900000" cy="432000"/>
            </a:xfrm>
            <a:prstGeom prst="rect">
              <a:avLst/>
            </a:prstGeom>
            <a:solidFill>
              <a:srgbClr val="CCD9E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19" name="Rechteck 19">
              <a:extLst>
                <a:ext uri="{FF2B5EF4-FFF2-40B4-BE49-F238E27FC236}">
                  <a16:creationId xmlns:a16="http://schemas.microsoft.com/office/drawing/2014/main" id="{6D6147E8-F482-0B97-AD8E-E80B418BEE1A}"/>
                </a:ext>
              </a:extLst>
            </p:cNvPr>
            <p:cNvSpPr/>
            <p:nvPr userDrawn="1"/>
          </p:nvSpPr>
          <p:spPr>
            <a:xfrm>
              <a:off x="2605300" y="2890154"/>
              <a:ext cx="900000" cy="432000"/>
            </a:xfrm>
            <a:prstGeom prst="rect">
              <a:avLst/>
            </a:prstGeom>
            <a:solidFill>
              <a:srgbClr val="CCEDF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20" name="Rechteck 19">
              <a:extLst>
                <a:ext uri="{FF2B5EF4-FFF2-40B4-BE49-F238E27FC236}">
                  <a16:creationId xmlns:a16="http://schemas.microsoft.com/office/drawing/2014/main" id="{A121C60A-033C-2DA6-3645-8FD0CA8F4600}"/>
                </a:ext>
              </a:extLst>
            </p:cNvPr>
            <p:cNvSpPr/>
            <p:nvPr userDrawn="1"/>
          </p:nvSpPr>
          <p:spPr>
            <a:xfrm>
              <a:off x="3668715" y="2890154"/>
              <a:ext cx="900000" cy="432000"/>
            </a:xfrm>
            <a:prstGeom prst="rect">
              <a:avLst/>
            </a:prstGeom>
            <a:solidFill>
              <a:srgbClr val="CCE5D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21" name="Rechteck 19">
              <a:extLst>
                <a:ext uri="{FF2B5EF4-FFF2-40B4-BE49-F238E27FC236}">
                  <a16:creationId xmlns:a16="http://schemas.microsoft.com/office/drawing/2014/main" id="{9F2C7AFE-FB19-20C3-9FE8-1AFBF76AC9F4}"/>
                </a:ext>
              </a:extLst>
            </p:cNvPr>
            <p:cNvSpPr/>
            <p:nvPr userDrawn="1"/>
          </p:nvSpPr>
          <p:spPr>
            <a:xfrm>
              <a:off x="4732130" y="2890154"/>
              <a:ext cx="900000" cy="432000"/>
            </a:xfrm>
            <a:prstGeom prst="rect">
              <a:avLst/>
            </a:prstGeom>
            <a:solidFill>
              <a:srgbClr val="F9D6D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22" name="Rechteck 19">
              <a:extLst>
                <a:ext uri="{FF2B5EF4-FFF2-40B4-BE49-F238E27FC236}">
                  <a16:creationId xmlns:a16="http://schemas.microsoft.com/office/drawing/2014/main" id="{18B81601-2936-D7BF-51A2-70E8FD0E0A1D}"/>
                </a:ext>
              </a:extLst>
            </p:cNvPr>
            <p:cNvSpPr/>
            <p:nvPr userDrawn="1"/>
          </p:nvSpPr>
          <p:spPr>
            <a:xfrm>
              <a:off x="5795545" y="2890154"/>
              <a:ext cx="900000" cy="432000"/>
            </a:xfrm>
            <a:prstGeom prst="rect">
              <a:avLst/>
            </a:prstGeom>
            <a:solidFill>
              <a:srgbClr val="FDEDC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24" name="Rechteck 19">
              <a:extLst>
                <a:ext uri="{FF2B5EF4-FFF2-40B4-BE49-F238E27FC236}">
                  <a16:creationId xmlns:a16="http://schemas.microsoft.com/office/drawing/2014/main" id="{8791C5BA-3628-50A7-FA8E-3DFFC6233E8E}"/>
                </a:ext>
              </a:extLst>
            </p:cNvPr>
            <p:cNvSpPr/>
            <p:nvPr userDrawn="1"/>
          </p:nvSpPr>
          <p:spPr>
            <a:xfrm>
              <a:off x="7927866" y="2890154"/>
              <a:ext cx="900000" cy="432000"/>
            </a:xfrm>
            <a:prstGeom prst="rect">
              <a:avLst/>
            </a:prstGeom>
            <a:solidFill>
              <a:srgbClr val="D9DAD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25" name="Rechteck 19">
              <a:extLst>
                <a:ext uri="{FF2B5EF4-FFF2-40B4-BE49-F238E27FC236}">
                  <a16:creationId xmlns:a16="http://schemas.microsoft.com/office/drawing/2014/main" id="{C3B283E8-6C3F-E3BD-5170-F279B29AFEEA}"/>
                </a:ext>
              </a:extLst>
            </p:cNvPr>
            <p:cNvSpPr/>
            <p:nvPr userDrawn="1"/>
          </p:nvSpPr>
          <p:spPr>
            <a:xfrm>
              <a:off x="6858960" y="2890154"/>
              <a:ext cx="900000" cy="432000"/>
            </a:xfrm>
            <a:prstGeom prst="rect">
              <a:avLst/>
            </a:prstGeom>
            <a:solidFill>
              <a:srgbClr val="E4F1D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26" name="Textplatzhalter 37">
              <a:extLst>
                <a:ext uri="{FF2B5EF4-FFF2-40B4-BE49-F238E27FC236}">
                  <a16:creationId xmlns:a16="http://schemas.microsoft.com/office/drawing/2014/main" id="{AF254277-8B09-9CC0-6162-F2D3E6122FAE}"/>
                </a:ext>
              </a:extLst>
            </p:cNvPr>
            <p:cNvSpPr txBox="1">
              <a:spLocks/>
            </p:cNvSpPr>
            <p:nvPr userDrawn="1"/>
          </p:nvSpPr>
          <p:spPr>
            <a:xfrm>
              <a:off x="1541885" y="3629668"/>
              <a:ext cx="854076" cy="176017"/>
            </a:xfrm>
            <a:prstGeom prst="rect">
              <a:avLst/>
            </a:prstGeom>
          </p:spPr>
          <p:txBody>
            <a:bodyPr vert="horz" wrap="square" lIns="0" tIns="0" rIns="0" bIns="0">
              <a:spAutoFit/>
            </a:bodyPr>
            <a:lstStyle>
              <a:lvl1pPr marL="0" indent="0" algn="l" defTabSz="914400" rtl="0" eaLnBrk="1" latinLnBrk="0" hangingPunct="1">
                <a:lnSpc>
                  <a:spcPct val="120000"/>
                </a:lnSpc>
                <a:spcBef>
                  <a:spcPts val="0"/>
                </a:spcBef>
                <a:buClr>
                  <a:srgbClr val="004388"/>
                </a:buClr>
                <a:buSzPct val="150000"/>
                <a:buFontTx/>
                <a:buNone/>
                <a:defRPr sz="2400" b="1" i="0" kern="1200" baseline="0">
                  <a:solidFill>
                    <a:srgbClr val="000000"/>
                  </a:solidFill>
                  <a:latin typeface="Arial"/>
                  <a:ea typeface="+mn-ea"/>
                  <a:cs typeface="Arial" panose="020B0604020202020204" pitchFamily="34" charset="0"/>
                </a:defRPr>
              </a:lvl1pPr>
              <a:lvl2pPr marL="538163" indent="-268288" algn="l" defTabSz="914400" rtl="0" eaLnBrk="1" latinLnBrk="0" hangingPunct="1">
                <a:lnSpc>
                  <a:spcPct val="120000"/>
                </a:lnSpc>
                <a:spcBef>
                  <a:spcPts val="0"/>
                </a:spcBef>
                <a:buClr>
                  <a:srgbClr val="004388"/>
                </a:buClr>
                <a:buFont typeface="Symbol" panose="05050102010706020507" pitchFamily="18" charset="2"/>
                <a:buChar char=""/>
                <a:defRPr sz="1600" kern="1200">
                  <a:solidFill>
                    <a:srgbClr val="000000"/>
                  </a:solidFill>
                  <a:latin typeface="Arial" panose="020B0604020202020204" pitchFamily="34" charset="0"/>
                  <a:ea typeface="+mn-ea"/>
                  <a:cs typeface="Arial" panose="020B0604020202020204" pitchFamily="34" charset="0"/>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latin typeface="+mj-lt"/>
                </a:rPr>
                <a:t>Headline</a:t>
              </a:r>
            </a:p>
          </p:txBody>
        </p:sp>
        <p:sp>
          <p:nvSpPr>
            <p:cNvPr id="27" name="Textplatzhalter 37">
              <a:extLst>
                <a:ext uri="{FF2B5EF4-FFF2-40B4-BE49-F238E27FC236}">
                  <a16:creationId xmlns:a16="http://schemas.microsoft.com/office/drawing/2014/main" id="{B8406987-9910-4A43-19B3-A3E18CE88348}"/>
                </a:ext>
              </a:extLst>
            </p:cNvPr>
            <p:cNvSpPr txBox="1">
              <a:spLocks/>
            </p:cNvSpPr>
            <p:nvPr userDrawn="1"/>
          </p:nvSpPr>
          <p:spPr>
            <a:xfrm>
              <a:off x="2588687" y="3632790"/>
              <a:ext cx="854076" cy="176017"/>
            </a:xfrm>
            <a:prstGeom prst="rect">
              <a:avLst/>
            </a:prstGeom>
          </p:spPr>
          <p:txBody>
            <a:bodyPr vert="horz" wrap="square" lIns="0" tIns="0" rIns="0" bIns="0">
              <a:spAutoFit/>
            </a:bodyPr>
            <a:lstStyle>
              <a:lvl1pPr marL="0" indent="0" algn="l" defTabSz="914400" rtl="0" eaLnBrk="1" latinLnBrk="0" hangingPunct="1">
                <a:lnSpc>
                  <a:spcPct val="120000"/>
                </a:lnSpc>
                <a:spcBef>
                  <a:spcPts val="0"/>
                </a:spcBef>
                <a:buClr>
                  <a:srgbClr val="004388"/>
                </a:buClr>
                <a:buSzPct val="150000"/>
                <a:buFontTx/>
                <a:buNone/>
                <a:defRPr sz="2400" b="1" i="0" kern="1200" baseline="0">
                  <a:solidFill>
                    <a:srgbClr val="000000"/>
                  </a:solidFill>
                  <a:latin typeface="Arial"/>
                  <a:ea typeface="+mn-ea"/>
                  <a:cs typeface="Arial" panose="020B0604020202020204" pitchFamily="34" charset="0"/>
                </a:defRPr>
              </a:lvl1pPr>
              <a:lvl2pPr marL="538163" indent="-268288" algn="l" defTabSz="914400" rtl="0" eaLnBrk="1" latinLnBrk="0" hangingPunct="1">
                <a:lnSpc>
                  <a:spcPct val="120000"/>
                </a:lnSpc>
                <a:spcBef>
                  <a:spcPts val="0"/>
                </a:spcBef>
                <a:buClr>
                  <a:srgbClr val="004388"/>
                </a:buClr>
                <a:buFont typeface="Symbol" panose="05050102010706020507" pitchFamily="18" charset="2"/>
                <a:buChar char=""/>
                <a:defRPr sz="1600" kern="1200">
                  <a:solidFill>
                    <a:srgbClr val="000000"/>
                  </a:solidFill>
                  <a:latin typeface="Arial" panose="020B0604020202020204" pitchFamily="34" charset="0"/>
                  <a:ea typeface="+mn-ea"/>
                  <a:cs typeface="Arial" panose="020B0604020202020204" pitchFamily="34" charset="0"/>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latin typeface="+mj-lt"/>
                </a:rPr>
                <a:t>Body copy</a:t>
              </a:r>
            </a:p>
          </p:txBody>
        </p:sp>
        <p:sp>
          <p:nvSpPr>
            <p:cNvPr id="29" name="Rechteck 19">
              <a:extLst>
                <a:ext uri="{FF2B5EF4-FFF2-40B4-BE49-F238E27FC236}">
                  <a16:creationId xmlns:a16="http://schemas.microsoft.com/office/drawing/2014/main" id="{DDD1323A-FAEC-6946-C6F1-F8A40F27DEFC}"/>
                </a:ext>
              </a:extLst>
            </p:cNvPr>
            <p:cNvSpPr/>
            <p:nvPr userDrawn="1"/>
          </p:nvSpPr>
          <p:spPr>
            <a:xfrm>
              <a:off x="1530919" y="3881260"/>
              <a:ext cx="900000" cy="43200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30" name="Rechteck 19">
              <a:extLst>
                <a:ext uri="{FF2B5EF4-FFF2-40B4-BE49-F238E27FC236}">
                  <a16:creationId xmlns:a16="http://schemas.microsoft.com/office/drawing/2014/main" id="{41D36475-41C7-D50B-EA7D-7D33777E125E}"/>
                </a:ext>
              </a:extLst>
            </p:cNvPr>
            <p:cNvSpPr/>
            <p:nvPr userDrawn="1"/>
          </p:nvSpPr>
          <p:spPr>
            <a:xfrm>
              <a:off x="2583319" y="3881260"/>
              <a:ext cx="900000" cy="432000"/>
            </a:xfrm>
            <a:prstGeom prst="rect">
              <a:avLst/>
            </a:prstGeom>
            <a:solidFill>
              <a:srgbClr val="0000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31" name="Textplatzhalter 37">
              <a:extLst>
                <a:ext uri="{FF2B5EF4-FFF2-40B4-BE49-F238E27FC236}">
                  <a16:creationId xmlns:a16="http://schemas.microsoft.com/office/drawing/2014/main" id="{20451B5F-D7F9-6C00-5751-039EBBD7AE18}"/>
                </a:ext>
              </a:extLst>
            </p:cNvPr>
            <p:cNvSpPr txBox="1">
              <a:spLocks/>
            </p:cNvSpPr>
            <p:nvPr userDrawn="1"/>
          </p:nvSpPr>
          <p:spPr>
            <a:xfrm>
              <a:off x="3673328" y="3633121"/>
              <a:ext cx="988029" cy="176017"/>
            </a:xfrm>
            <a:prstGeom prst="rect">
              <a:avLst/>
            </a:prstGeom>
          </p:spPr>
          <p:txBody>
            <a:bodyPr vert="horz" wrap="square" lIns="0" tIns="0" rIns="0" bIns="0">
              <a:spAutoFit/>
            </a:bodyPr>
            <a:lstStyle>
              <a:lvl1pPr marL="0" indent="0" algn="l" defTabSz="914400" rtl="0" eaLnBrk="1" latinLnBrk="0" hangingPunct="1">
                <a:lnSpc>
                  <a:spcPct val="120000"/>
                </a:lnSpc>
                <a:spcBef>
                  <a:spcPts val="0"/>
                </a:spcBef>
                <a:buClr>
                  <a:srgbClr val="004388"/>
                </a:buClr>
                <a:buSzPct val="150000"/>
                <a:buFontTx/>
                <a:buNone/>
                <a:defRPr sz="2400" b="1" i="0" kern="1200" baseline="0">
                  <a:solidFill>
                    <a:srgbClr val="000000"/>
                  </a:solidFill>
                  <a:latin typeface="Arial"/>
                  <a:ea typeface="+mn-ea"/>
                  <a:cs typeface="Arial" panose="020B0604020202020204" pitchFamily="34" charset="0"/>
                </a:defRPr>
              </a:lvl1pPr>
              <a:lvl2pPr marL="538163" indent="-268288" algn="l" defTabSz="914400" rtl="0" eaLnBrk="1" latinLnBrk="0" hangingPunct="1">
                <a:lnSpc>
                  <a:spcPct val="120000"/>
                </a:lnSpc>
                <a:spcBef>
                  <a:spcPts val="0"/>
                </a:spcBef>
                <a:buClr>
                  <a:srgbClr val="004388"/>
                </a:buClr>
                <a:buFont typeface="Symbol" panose="05050102010706020507" pitchFamily="18" charset="2"/>
                <a:buChar char=""/>
                <a:defRPr sz="1600" kern="1200">
                  <a:solidFill>
                    <a:srgbClr val="000000"/>
                  </a:solidFill>
                  <a:latin typeface="Arial" panose="020B0604020202020204" pitchFamily="34" charset="0"/>
                  <a:ea typeface="+mn-ea"/>
                  <a:cs typeface="Arial" panose="020B0604020202020204" pitchFamily="34" charset="0"/>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latin typeface="+mj-lt"/>
                </a:rPr>
                <a:t>Content Index</a:t>
              </a:r>
            </a:p>
          </p:txBody>
        </p:sp>
        <p:sp>
          <p:nvSpPr>
            <p:cNvPr id="32" name="Rechteck 19">
              <a:extLst>
                <a:ext uri="{FF2B5EF4-FFF2-40B4-BE49-F238E27FC236}">
                  <a16:creationId xmlns:a16="http://schemas.microsoft.com/office/drawing/2014/main" id="{40BCD240-9A26-4F6D-9F16-0A139AE2CB04}"/>
                </a:ext>
              </a:extLst>
            </p:cNvPr>
            <p:cNvSpPr/>
            <p:nvPr userDrawn="1"/>
          </p:nvSpPr>
          <p:spPr>
            <a:xfrm>
              <a:off x="3668715" y="3881260"/>
              <a:ext cx="900000" cy="432000"/>
            </a:xfrm>
            <a:prstGeom prst="rect">
              <a:avLst/>
            </a:prstGeom>
            <a:solidFill>
              <a:srgbClr val="9C9E9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33" name="Textplatzhalter 37">
              <a:extLst>
                <a:ext uri="{FF2B5EF4-FFF2-40B4-BE49-F238E27FC236}">
                  <a16:creationId xmlns:a16="http://schemas.microsoft.com/office/drawing/2014/main" id="{8AC2D6B2-2C5B-B435-E1EC-F10534DE58AB}"/>
                </a:ext>
              </a:extLst>
            </p:cNvPr>
            <p:cNvSpPr txBox="1">
              <a:spLocks/>
            </p:cNvSpPr>
            <p:nvPr userDrawn="1"/>
          </p:nvSpPr>
          <p:spPr>
            <a:xfrm>
              <a:off x="4733767" y="3633607"/>
              <a:ext cx="988029" cy="176017"/>
            </a:xfrm>
            <a:prstGeom prst="rect">
              <a:avLst/>
            </a:prstGeom>
          </p:spPr>
          <p:txBody>
            <a:bodyPr vert="horz" wrap="square" lIns="0" tIns="0" rIns="0" bIns="0">
              <a:spAutoFit/>
            </a:bodyPr>
            <a:lstStyle>
              <a:lvl1pPr marL="0" indent="0" algn="l" defTabSz="914400" rtl="0" eaLnBrk="1" latinLnBrk="0" hangingPunct="1">
                <a:lnSpc>
                  <a:spcPct val="120000"/>
                </a:lnSpc>
                <a:spcBef>
                  <a:spcPts val="0"/>
                </a:spcBef>
                <a:buClr>
                  <a:srgbClr val="004388"/>
                </a:buClr>
                <a:buSzPct val="150000"/>
                <a:buFontTx/>
                <a:buNone/>
                <a:defRPr sz="2400" b="1" i="0" kern="1200" baseline="0">
                  <a:solidFill>
                    <a:srgbClr val="000000"/>
                  </a:solidFill>
                  <a:latin typeface="Arial"/>
                  <a:ea typeface="+mn-ea"/>
                  <a:cs typeface="Arial" panose="020B0604020202020204" pitchFamily="34" charset="0"/>
                </a:defRPr>
              </a:lvl1pPr>
              <a:lvl2pPr marL="538163" indent="-268288" algn="l" defTabSz="914400" rtl="0" eaLnBrk="1" latinLnBrk="0" hangingPunct="1">
                <a:lnSpc>
                  <a:spcPct val="120000"/>
                </a:lnSpc>
                <a:spcBef>
                  <a:spcPts val="0"/>
                </a:spcBef>
                <a:buClr>
                  <a:srgbClr val="004388"/>
                </a:buClr>
                <a:buFont typeface="Symbol" panose="05050102010706020507" pitchFamily="18" charset="2"/>
                <a:buChar char=""/>
                <a:defRPr sz="1600" kern="1200">
                  <a:solidFill>
                    <a:srgbClr val="000000"/>
                  </a:solidFill>
                  <a:latin typeface="Arial" panose="020B0604020202020204" pitchFamily="34" charset="0"/>
                  <a:ea typeface="+mn-ea"/>
                  <a:cs typeface="Arial" panose="020B0604020202020204" pitchFamily="34" charset="0"/>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latin typeface="+mj-lt"/>
                </a:rPr>
                <a:t>Light Gray</a:t>
              </a:r>
            </a:p>
          </p:txBody>
        </p:sp>
        <p:sp>
          <p:nvSpPr>
            <p:cNvPr id="34" name="Rechteck 19">
              <a:extLst>
                <a:ext uri="{FF2B5EF4-FFF2-40B4-BE49-F238E27FC236}">
                  <a16:creationId xmlns:a16="http://schemas.microsoft.com/office/drawing/2014/main" id="{36BC3522-E256-8189-25AF-F86BF62131F0}"/>
                </a:ext>
              </a:extLst>
            </p:cNvPr>
            <p:cNvSpPr/>
            <p:nvPr userDrawn="1"/>
          </p:nvSpPr>
          <p:spPr>
            <a:xfrm>
              <a:off x="4729351" y="3878858"/>
              <a:ext cx="900000" cy="432000"/>
            </a:xfrm>
            <a:prstGeom prst="rect">
              <a:avLst/>
            </a:prstGeom>
            <a:solidFill>
              <a:srgbClr val="D9DAD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67">
                <a:latin typeface="+mj-lt"/>
              </a:endParaRPr>
            </a:p>
          </p:txBody>
        </p:sp>
        <p:sp>
          <p:nvSpPr>
            <p:cNvPr id="35" name="Textplatzhalter 37">
              <a:extLst>
                <a:ext uri="{FF2B5EF4-FFF2-40B4-BE49-F238E27FC236}">
                  <a16:creationId xmlns:a16="http://schemas.microsoft.com/office/drawing/2014/main" id="{24C23C5C-DCB8-776F-8AE5-9581E59A3AA0}"/>
                </a:ext>
              </a:extLst>
            </p:cNvPr>
            <p:cNvSpPr txBox="1">
              <a:spLocks/>
            </p:cNvSpPr>
            <p:nvPr userDrawn="1"/>
          </p:nvSpPr>
          <p:spPr>
            <a:xfrm>
              <a:off x="5795185" y="3634107"/>
              <a:ext cx="988029" cy="176017"/>
            </a:xfrm>
            <a:prstGeom prst="rect">
              <a:avLst/>
            </a:prstGeom>
          </p:spPr>
          <p:txBody>
            <a:bodyPr vert="horz" wrap="square" lIns="0" tIns="0" rIns="0" bIns="0">
              <a:spAutoFit/>
            </a:bodyPr>
            <a:lstStyle>
              <a:lvl1pPr marL="0" indent="0" algn="l" defTabSz="914400" rtl="0" eaLnBrk="1" latinLnBrk="0" hangingPunct="1">
                <a:lnSpc>
                  <a:spcPct val="120000"/>
                </a:lnSpc>
                <a:spcBef>
                  <a:spcPts val="0"/>
                </a:spcBef>
                <a:buClr>
                  <a:srgbClr val="004388"/>
                </a:buClr>
                <a:buSzPct val="150000"/>
                <a:buFontTx/>
                <a:buNone/>
                <a:defRPr sz="2400" b="1" i="0" kern="1200" baseline="0">
                  <a:solidFill>
                    <a:srgbClr val="000000"/>
                  </a:solidFill>
                  <a:latin typeface="Arial"/>
                  <a:ea typeface="+mn-ea"/>
                  <a:cs typeface="Arial" panose="020B0604020202020204" pitchFamily="34" charset="0"/>
                </a:defRPr>
              </a:lvl1pPr>
              <a:lvl2pPr marL="538163" indent="-268288" algn="l" defTabSz="914400" rtl="0" eaLnBrk="1" latinLnBrk="0" hangingPunct="1">
                <a:lnSpc>
                  <a:spcPct val="120000"/>
                </a:lnSpc>
                <a:spcBef>
                  <a:spcPts val="0"/>
                </a:spcBef>
                <a:buClr>
                  <a:srgbClr val="004388"/>
                </a:buClr>
                <a:buFont typeface="Symbol" panose="05050102010706020507" pitchFamily="18" charset="2"/>
                <a:buChar char=""/>
                <a:defRPr sz="1600" kern="1200">
                  <a:solidFill>
                    <a:srgbClr val="000000"/>
                  </a:solidFill>
                  <a:latin typeface="Arial" panose="020B0604020202020204" pitchFamily="34" charset="0"/>
                  <a:ea typeface="+mn-ea"/>
                  <a:cs typeface="Arial" panose="020B0604020202020204" pitchFamily="34" charset="0"/>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a:latin typeface="+mj-lt"/>
                </a:rPr>
                <a:t>Gradient</a:t>
              </a:r>
            </a:p>
          </p:txBody>
        </p:sp>
        <p:sp>
          <p:nvSpPr>
            <p:cNvPr id="36" name="Textplatzhalter 5">
              <a:extLst>
                <a:ext uri="{FF2B5EF4-FFF2-40B4-BE49-F238E27FC236}">
                  <a16:creationId xmlns:a16="http://schemas.microsoft.com/office/drawing/2014/main" id="{09310BB9-ED37-E6C4-B388-7A5DEE771720}"/>
                </a:ext>
              </a:extLst>
            </p:cNvPr>
            <p:cNvSpPr txBox="1">
              <a:spLocks/>
            </p:cNvSpPr>
            <p:nvPr userDrawn="1"/>
          </p:nvSpPr>
          <p:spPr>
            <a:xfrm>
              <a:off x="2614826" y="4053740"/>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bg1"/>
                  </a:solidFill>
                  <a:latin typeface="+mj-lt"/>
                </a:rPr>
                <a:t>Black</a:t>
              </a:r>
            </a:p>
            <a:p>
              <a:pPr>
                <a:lnSpc>
                  <a:spcPct val="90000"/>
                </a:lnSpc>
                <a:tabLst>
                  <a:tab pos="599137" algn="l"/>
                </a:tabLst>
              </a:pPr>
              <a:r>
                <a:rPr lang="en-US" sz="1067">
                  <a:solidFill>
                    <a:schemeClr val="bg1"/>
                  </a:solidFill>
                  <a:latin typeface="+mj-lt"/>
                </a:rPr>
                <a:t>0/0/0</a:t>
              </a:r>
            </a:p>
          </p:txBody>
        </p:sp>
        <p:sp>
          <p:nvSpPr>
            <p:cNvPr id="37" name="Textplatzhalter 5">
              <a:extLst>
                <a:ext uri="{FF2B5EF4-FFF2-40B4-BE49-F238E27FC236}">
                  <a16:creationId xmlns:a16="http://schemas.microsoft.com/office/drawing/2014/main" id="{E5B8388A-6079-4FD9-E898-A9BD6E2C0101}"/>
                </a:ext>
              </a:extLst>
            </p:cNvPr>
            <p:cNvSpPr txBox="1">
              <a:spLocks/>
            </p:cNvSpPr>
            <p:nvPr userDrawn="1"/>
          </p:nvSpPr>
          <p:spPr>
            <a:xfrm>
              <a:off x="3701761" y="4055933"/>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bg1"/>
                  </a:solidFill>
                  <a:latin typeface="+mj-lt"/>
                </a:rPr>
                <a:t>Dark Grey</a:t>
              </a:r>
            </a:p>
            <a:p>
              <a:pPr>
                <a:lnSpc>
                  <a:spcPct val="90000"/>
                </a:lnSpc>
                <a:tabLst>
                  <a:tab pos="599137" algn="l"/>
                </a:tabLst>
              </a:pPr>
              <a:r>
                <a:rPr lang="en-US" sz="1067">
                  <a:solidFill>
                    <a:schemeClr val="bg1"/>
                  </a:solidFill>
                  <a:latin typeface="+mj-lt"/>
                </a:rPr>
                <a:t>156/158/159</a:t>
              </a:r>
            </a:p>
          </p:txBody>
        </p:sp>
        <p:sp>
          <p:nvSpPr>
            <p:cNvPr id="38" name="Textplatzhalter 5">
              <a:extLst>
                <a:ext uri="{FF2B5EF4-FFF2-40B4-BE49-F238E27FC236}">
                  <a16:creationId xmlns:a16="http://schemas.microsoft.com/office/drawing/2014/main" id="{638C2623-225F-E120-1CA4-AE81579890C3}"/>
                </a:ext>
              </a:extLst>
            </p:cNvPr>
            <p:cNvSpPr txBox="1">
              <a:spLocks/>
            </p:cNvSpPr>
            <p:nvPr userDrawn="1"/>
          </p:nvSpPr>
          <p:spPr>
            <a:xfrm>
              <a:off x="4764002" y="4053741"/>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tx1"/>
                  </a:solidFill>
                  <a:latin typeface="+mj-lt"/>
                </a:rPr>
                <a:t>Light Gray</a:t>
              </a:r>
            </a:p>
            <a:p>
              <a:pPr>
                <a:lnSpc>
                  <a:spcPct val="90000"/>
                </a:lnSpc>
                <a:tabLst>
                  <a:tab pos="599137" algn="l"/>
                </a:tabLst>
              </a:pPr>
              <a:r>
                <a:rPr lang="en-US" sz="1067">
                  <a:solidFill>
                    <a:schemeClr val="tx1"/>
                  </a:solidFill>
                  <a:latin typeface="+mj-lt"/>
                </a:rPr>
                <a:t>217/218/219</a:t>
              </a:r>
            </a:p>
          </p:txBody>
        </p:sp>
        <p:sp>
          <p:nvSpPr>
            <p:cNvPr id="39" name="Textplatzhalter 5">
              <a:extLst>
                <a:ext uri="{FF2B5EF4-FFF2-40B4-BE49-F238E27FC236}">
                  <a16:creationId xmlns:a16="http://schemas.microsoft.com/office/drawing/2014/main" id="{37A463C3-2675-FECD-99E4-278DBF383588}"/>
                </a:ext>
              </a:extLst>
            </p:cNvPr>
            <p:cNvSpPr txBox="1">
              <a:spLocks/>
            </p:cNvSpPr>
            <p:nvPr userDrawn="1"/>
          </p:nvSpPr>
          <p:spPr>
            <a:xfrm>
              <a:off x="1573598" y="4053741"/>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bg1"/>
                  </a:solidFill>
                  <a:latin typeface="+mj-lt"/>
                </a:rPr>
                <a:t>Basic blue</a:t>
              </a:r>
            </a:p>
            <a:p>
              <a:pPr>
                <a:lnSpc>
                  <a:spcPct val="90000"/>
                </a:lnSpc>
                <a:tabLst>
                  <a:tab pos="599137" algn="l"/>
                </a:tabLst>
              </a:pPr>
              <a:r>
                <a:rPr lang="en-US" sz="1067">
                  <a:solidFill>
                    <a:schemeClr val="bg1"/>
                  </a:solidFill>
                  <a:latin typeface="+mj-lt"/>
                </a:rPr>
                <a:t>0/67/136</a:t>
              </a:r>
            </a:p>
          </p:txBody>
        </p:sp>
        <p:sp>
          <p:nvSpPr>
            <p:cNvPr id="40" name="Textplatzhalter 5">
              <a:extLst>
                <a:ext uri="{FF2B5EF4-FFF2-40B4-BE49-F238E27FC236}">
                  <a16:creationId xmlns:a16="http://schemas.microsoft.com/office/drawing/2014/main" id="{BCDB3A8B-097B-7170-38B7-CE5DC783924E}"/>
                </a:ext>
              </a:extLst>
            </p:cNvPr>
            <p:cNvSpPr txBox="1">
              <a:spLocks/>
            </p:cNvSpPr>
            <p:nvPr userDrawn="1"/>
          </p:nvSpPr>
          <p:spPr>
            <a:xfrm>
              <a:off x="1583541" y="3085146"/>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endParaRPr lang="en-US" sz="1067">
                <a:solidFill>
                  <a:schemeClr val="tx1"/>
                </a:solidFill>
                <a:latin typeface="+mj-lt"/>
              </a:endParaRPr>
            </a:p>
            <a:p>
              <a:pPr>
                <a:lnSpc>
                  <a:spcPct val="90000"/>
                </a:lnSpc>
                <a:tabLst>
                  <a:tab pos="599137" algn="l"/>
                </a:tabLst>
              </a:pPr>
              <a:r>
                <a:rPr lang="en-US" sz="1067">
                  <a:solidFill>
                    <a:schemeClr val="tx1"/>
                  </a:solidFill>
                  <a:latin typeface="+mj-lt"/>
                </a:rPr>
                <a:t>204/217/231</a:t>
              </a:r>
            </a:p>
          </p:txBody>
        </p:sp>
        <p:sp>
          <p:nvSpPr>
            <p:cNvPr id="41" name="Textplatzhalter 5">
              <a:extLst>
                <a:ext uri="{FF2B5EF4-FFF2-40B4-BE49-F238E27FC236}">
                  <a16:creationId xmlns:a16="http://schemas.microsoft.com/office/drawing/2014/main" id="{D8E9B420-6D3D-ADAF-2C01-F4ED9E9BFD08}"/>
                </a:ext>
              </a:extLst>
            </p:cNvPr>
            <p:cNvSpPr txBox="1">
              <a:spLocks/>
            </p:cNvSpPr>
            <p:nvPr userDrawn="1"/>
          </p:nvSpPr>
          <p:spPr>
            <a:xfrm>
              <a:off x="2634567" y="3085146"/>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endParaRPr lang="en-US" sz="1067">
                <a:solidFill>
                  <a:schemeClr val="tx1"/>
                </a:solidFill>
                <a:latin typeface="+mj-lt"/>
              </a:endParaRPr>
            </a:p>
            <a:p>
              <a:pPr>
                <a:lnSpc>
                  <a:spcPct val="90000"/>
                </a:lnSpc>
                <a:tabLst>
                  <a:tab pos="599137" algn="l"/>
                </a:tabLst>
              </a:pPr>
              <a:r>
                <a:rPr lang="en-US" sz="1067">
                  <a:solidFill>
                    <a:schemeClr val="tx1"/>
                  </a:solidFill>
                  <a:latin typeface="+mj-lt"/>
                </a:rPr>
                <a:t>204/237/249</a:t>
              </a:r>
            </a:p>
          </p:txBody>
        </p:sp>
        <p:sp>
          <p:nvSpPr>
            <p:cNvPr id="42" name="Textplatzhalter 5">
              <a:extLst>
                <a:ext uri="{FF2B5EF4-FFF2-40B4-BE49-F238E27FC236}">
                  <a16:creationId xmlns:a16="http://schemas.microsoft.com/office/drawing/2014/main" id="{7B5A7600-4105-29BB-DB5F-36DBE5A980BF}"/>
                </a:ext>
              </a:extLst>
            </p:cNvPr>
            <p:cNvSpPr txBox="1">
              <a:spLocks/>
            </p:cNvSpPr>
            <p:nvPr userDrawn="1"/>
          </p:nvSpPr>
          <p:spPr>
            <a:xfrm>
              <a:off x="3694570" y="3094064"/>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tx1"/>
                  </a:solidFill>
                  <a:latin typeface="+mj-lt"/>
                </a:rPr>
                <a:t>	</a:t>
              </a:r>
            </a:p>
            <a:p>
              <a:pPr>
                <a:lnSpc>
                  <a:spcPct val="90000"/>
                </a:lnSpc>
                <a:tabLst>
                  <a:tab pos="599137" algn="l"/>
                </a:tabLst>
              </a:pPr>
              <a:r>
                <a:rPr lang="en-US" sz="1067">
                  <a:solidFill>
                    <a:schemeClr val="tx1"/>
                  </a:solidFill>
                  <a:latin typeface="+mj-lt"/>
                </a:rPr>
                <a:t>204/229/220</a:t>
              </a:r>
            </a:p>
          </p:txBody>
        </p:sp>
        <p:sp>
          <p:nvSpPr>
            <p:cNvPr id="43" name="Textplatzhalter 5">
              <a:extLst>
                <a:ext uri="{FF2B5EF4-FFF2-40B4-BE49-F238E27FC236}">
                  <a16:creationId xmlns:a16="http://schemas.microsoft.com/office/drawing/2014/main" id="{9100C2B1-87D2-8297-A6E7-5FA8E25CB919}"/>
                </a:ext>
              </a:extLst>
            </p:cNvPr>
            <p:cNvSpPr txBox="1">
              <a:spLocks/>
            </p:cNvSpPr>
            <p:nvPr userDrawn="1"/>
          </p:nvSpPr>
          <p:spPr>
            <a:xfrm>
              <a:off x="5832626" y="2256017"/>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endParaRPr lang="en-US" sz="1067">
                <a:solidFill>
                  <a:schemeClr val="tx1"/>
                </a:solidFill>
                <a:latin typeface="+mj-lt"/>
              </a:endParaRPr>
            </a:p>
            <a:p>
              <a:pPr>
                <a:lnSpc>
                  <a:spcPct val="90000"/>
                </a:lnSpc>
                <a:tabLst>
                  <a:tab pos="599137" algn="l"/>
                </a:tabLst>
              </a:pPr>
              <a:r>
                <a:rPr lang="en-US" sz="1067">
                  <a:solidFill>
                    <a:schemeClr val="tx1"/>
                  </a:solidFill>
                  <a:latin typeface="+mj-lt"/>
                </a:rPr>
                <a:t>251/210/127</a:t>
              </a:r>
            </a:p>
          </p:txBody>
        </p:sp>
        <p:sp>
          <p:nvSpPr>
            <p:cNvPr id="44" name="Textplatzhalter 5">
              <a:extLst>
                <a:ext uri="{FF2B5EF4-FFF2-40B4-BE49-F238E27FC236}">
                  <a16:creationId xmlns:a16="http://schemas.microsoft.com/office/drawing/2014/main" id="{BA354733-D179-D5DD-51D7-CACE904B9D83}"/>
                </a:ext>
              </a:extLst>
            </p:cNvPr>
            <p:cNvSpPr txBox="1">
              <a:spLocks/>
            </p:cNvSpPr>
            <p:nvPr userDrawn="1"/>
          </p:nvSpPr>
          <p:spPr>
            <a:xfrm>
              <a:off x="5827386" y="3094064"/>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endParaRPr lang="en-US" sz="1067">
                <a:solidFill>
                  <a:schemeClr val="tx1"/>
                </a:solidFill>
                <a:latin typeface="+mj-lt"/>
              </a:endParaRPr>
            </a:p>
            <a:p>
              <a:pPr>
                <a:lnSpc>
                  <a:spcPct val="90000"/>
                </a:lnSpc>
                <a:tabLst>
                  <a:tab pos="599137" algn="l"/>
                </a:tabLst>
              </a:pPr>
              <a:r>
                <a:rPr lang="en-US" sz="1067">
                  <a:solidFill>
                    <a:schemeClr val="tx1"/>
                  </a:solidFill>
                  <a:latin typeface="+mj-lt"/>
                </a:rPr>
                <a:t>253/237/204</a:t>
              </a:r>
            </a:p>
          </p:txBody>
        </p:sp>
        <p:sp>
          <p:nvSpPr>
            <p:cNvPr id="45" name="Textplatzhalter 5">
              <a:extLst>
                <a:ext uri="{FF2B5EF4-FFF2-40B4-BE49-F238E27FC236}">
                  <a16:creationId xmlns:a16="http://schemas.microsoft.com/office/drawing/2014/main" id="{EB2994B1-98D8-01C1-CBF4-4C852ED7B26A}"/>
                </a:ext>
              </a:extLst>
            </p:cNvPr>
            <p:cNvSpPr txBox="1">
              <a:spLocks/>
            </p:cNvSpPr>
            <p:nvPr userDrawn="1"/>
          </p:nvSpPr>
          <p:spPr>
            <a:xfrm>
              <a:off x="7976720" y="2249970"/>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endParaRPr lang="en-US" sz="1067">
                <a:solidFill>
                  <a:schemeClr val="tx1"/>
                </a:solidFill>
                <a:latin typeface="+mj-lt"/>
              </a:endParaRPr>
            </a:p>
            <a:p>
              <a:pPr>
                <a:lnSpc>
                  <a:spcPct val="90000"/>
                </a:lnSpc>
                <a:tabLst>
                  <a:tab pos="599137" algn="l"/>
                </a:tabLst>
              </a:pPr>
              <a:r>
                <a:rPr lang="en-US" sz="1067">
                  <a:solidFill>
                    <a:schemeClr val="tx1"/>
                  </a:solidFill>
                  <a:latin typeface="+mj-lt"/>
                </a:rPr>
                <a:t>156/158/159</a:t>
              </a:r>
            </a:p>
          </p:txBody>
        </p:sp>
        <p:sp>
          <p:nvSpPr>
            <p:cNvPr id="46" name="Textplatzhalter 5">
              <a:extLst>
                <a:ext uri="{FF2B5EF4-FFF2-40B4-BE49-F238E27FC236}">
                  <a16:creationId xmlns:a16="http://schemas.microsoft.com/office/drawing/2014/main" id="{2DC29A36-3F05-C1BB-636F-A89241080B6F}"/>
                </a:ext>
              </a:extLst>
            </p:cNvPr>
            <p:cNvSpPr txBox="1">
              <a:spLocks/>
            </p:cNvSpPr>
            <p:nvPr userDrawn="1"/>
          </p:nvSpPr>
          <p:spPr>
            <a:xfrm>
              <a:off x="7971951" y="3085145"/>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endParaRPr lang="en-US" sz="1067">
                <a:solidFill>
                  <a:schemeClr val="tx1"/>
                </a:solidFill>
                <a:latin typeface="+mj-lt"/>
              </a:endParaRPr>
            </a:p>
            <a:p>
              <a:pPr>
                <a:lnSpc>
                  <a:spcPct val="90000"/>
                </a:lnSpc>
                <a:tabLst>
                  <a:tab pos="599137" algn="l"/>
                </a:tabLst>
              </a:pPr>
              <a:r>
                <a:rPr lang="en-US" sz="1067">
                  <a:solidFill>
                    <a:schemeClr val="tx1"/>
                  </a:solidFill>
                  <a:latin typeface="+mj-lt"/>
                </a:rPr>
                <a:t>217/218/219</a:t>
              </a:r>
            </a:p>
          </p:txBody>
        </p:sp>
        <p:sp>
          <p:nvSpPr>
            <p:cNvPr id="14" name="Textplatzhalter 5">
              <a:extLst>
                <a:ext uri="{FF2B5EF4-FFF2-40B4-BE49-F238E27FC236}">
                  <a16:creationId xmlns:a16="http://schemas.microsoft.com/office/drawing/2014/main" id="{1A0FDAF1-0279-78AC-C116-811F641B6939}"/>
                </a:ext>
              </a:extLst>
            </p:cNvPr>
            <p:cNvSpPr txBox="1">
              <a:spLocks/>
            </p:cNvSpPr>
            <p:nvPr userDrawn="1"/>
          </p:nvSpPr>
          <p:spPr>
            <a:xfrm>
              <a:off x="4764003" y="2256698"/>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tx1"/>
                  </a:solidFill>
                  <a:latin typeface="+mj-lt"/>
                </a:rPr>
                <a:t>	</a:t>
              </a:r>
            </a:p>
            <a:p>
              <a:pPr>
                <a:lnSpc>
                  <a:spcPct val="90000"/>
                </a:lnSpc>
                <a:tabLst>
                  <a:tab pos="599137" algn="l"/>
                </a:tabLst>
              </a:pPr>
              <a:r>
                <a:rPr lang="en-US" sz="1067">
                  <a:solidFill>
                    <a:schemeClr val="tx1"/>
                  </a:solidFill>
                  <a:latin typeface="+mj-lt"/>
                </a:rPr>
                <a:t>239/154/151</a:t>
              </a:r>
            </a:p>
          </p:txBody>
        </p:sp>
        <p:sp>
          <p:nvSpPr>
            <p:cNvPr id="23" name="Textplatzhalter 5">
              <a:extLst>
                <a:ext uri="{FF2B5EF4-FFF2-40B4-BE49-F238E27FC236}">
                  <a16:creationId xmlns:a16="http://schemas.microsoft.com/office/drawing/2014/main" id="{A0DE183D-A3D3-0DA1-28DF-ACD7A25C1279}"/>
                </a:ext>
              </a:extLst>
            </p:cNvPr>
            <p:cNvSpPr txBox="1">
              <a:spLocks/>
            </p:cNvSpPr>
            <p:nvPr userDrawn="1"/>
          </p:nvSpPr>
          <p:spPr>
            <a:xfrm>
              <a:off x="4312768" y="3198007"/>
              <a:ext cx="1060756" cy="110822"/>
            </a:xfrm>
            <a:prstGeom prst="rect">
              <a:avLst/>
            </a:prstGeom>
          </p:spPr>
          <p:txBody>
            <a:bodyPr vert="horz" wrap="square"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a:solidFill>
                    <a:schemeClr val="tx1"/>
                  </a:solidFill>
                  <a:latin typeface="+mj-lt"/>
                </a:rPr>
                <a:t>	249/214/213</a:t>
              </a:r>
            </a:p>
          </p:txBody>
        </p:sp>
        <p:sp>
          <p:nvSpPr>
            <p:cNvPr id="28" name="Textplatzhalter 5">
              <a:extLst>
                <a:ext uri="{FF2B5EF4-FFF2-40B4-BE49-F238E27FC236}">
                  <a16:creationId xmlns:a16="http://schemas.microsoft.com/office/drawing/2014/main" id="{7104BCB9-FAE7-E675-6842-5EFAA7D908FD}"/>
                </a:ext>
              </a:extLst>
            </p:cNvPr>
            <p:cNvSpPr txBox="1">
              <a:spLocks/>
            </p:cNvSpPr>
            <p:nvPr userDrawn="1"/>
          </p:nvSpPr>
          <p:spPr>
            <a:xfrm>
              <a:off x="6880072" y="2249970"/>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endParaRPr lang="en-US" sz="1067">
                <a:solidFill>
                  <a:schemeClr val="tx1"/>
                </a:solidFill>
                <a:latin typeface="+mj-lt"/>
              </a:endParaRPr>
            </a:p>
            <a:p>
              <a:pPr>
                <a:lnSpc>
                  <a:spcPct val="90000"/>
                </a:lnSpc>
                <a:tabLst>
                  <a:tab pos="599137" algn="l"/>
                </a:tabLst>
              </a:pPr>
              <a:r>
                <a:rPr lang="en-US" sz="1067">
                  <a:solidFill>
                    <a:schemeClr val="tx1"/>
                  </a:solidFill>
                  <a:latin typeface="+mj-lt"/>
                </a:rPr>
                <a:t>187/220/149</a:t>
              </a:r>
            </a:p>
          </p:txBody>
        </p:sp>
        <p:sp>
          <p:nvSpPr>
            <p:cNvPr id="47" name="Textplatzhalter 5">
              <a:extLst>
                <a:ext uri="{FF2B5EF4-FFF2-40B4-BE49-F238E27FC236}">
                  <a16:creationId xmlns:a16="http://schemas.microsoft.com/office/drawing/2014/main" id="{2304C302-2D60-8702-6EEF-0700CEB24331}"/>
                </a:ext>
              </a:extLst>
            </p:cNvPr>
            <p:cNvSpPr txBox="1">
              <a:spLocks/>
            </p:cNvSpPr>
            <p:nvPr userDrawn="1"/>
          </p:nvSpPr>
          <p:spPr>
            <a:xfrm>
              <a:off x="6905472" y="3079877"/>
              <a:ext cx="1009721" cy="221644"/>
            </a:xfrm>
            <a:prstGeom prst="rect">
              <a:avLst/>
            </a:prstGeom>
          </p:spPr>
          <p:txBody>
            <a:bodyPr vert="horz" lIns="0" tIns="0" rIns="0" bIns="0">
              <a:spAutoFit/>
            </a:bodyPr>
            <a:lstStyle>
              <a:lvl1pPr marL="0" indent="0" algn="l" defTabSz="914400" rtl="0" eaLnBrk="1" latinLnBrk="0" hangingPunct="1">
                <a:lnSpc>
                  <a:spcPct val="120000"/>
                </a:lnSpc>
                <a:spcBef>
                  <a:spcPts val="0"/>
                </a:spcBef>
                <a:buClr>
                  <a:srgbClr val="004388"/>
                </a:buClr>
                <a:buSzPct val="150000"/>
                <a:buFontTx/>
                <a:buNone/>
                <a:defRPr sz="800" b="0"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endParaRPr lang="en-US" sz="1067">
                <a:solidFill>
                  <a:schemeClr val="tx1"/>
                </a:solidFill>
                <a:latin typeface="+mj-lt"/>
              </a:endParaRPr>
            </a:p>
            <a:p>
              <a:pPr>
                <a:lnSpc>
                  <a:spcPct val="90000"/>
                </a:lnSpc>
                <a:tabLst>
                  <a:tab pos="599137" algn="l"/>
                </a:tabLst>
              </a:pPr>
              <a:r>
                <a:rPr lang="en-US" sz="1067">
                  <a:solidFill>
                    <a:schemeClr val="tx1"/>
                  </a:solidFill>
                  <a:latin typeface="+mj-lt"/>
                </a:rPr>
                <a:t>228/241/212</a:t>
              </a:r>
            </a:p>
          </p:txBody>
        </p:sp>
        <p:sp>
          <p:nvSpPr>
            <p:cNvPr id="48" name="Textplatzhalter 5">
              <a:extLst>
                <a:ext uri="{FF2B5EF4-FFF2-40B4-BE49-F238E27FC236}">
                  <a16:creationId xmlns:a16="http://schemas.microsoft.com/office/drawing/2014/main" id="{0692E8EE-E6E7-3ABD-6336-FB8F348D95E7}"/>
                </a:ext>
              </a:extLst>
            </p:cNvPr>
            <p:cNvSpPr txBox="1">
              <a:spLocks/>
            </p:cNvSpPr>
            <p:nvPr userDrawn="1"/>
          </p:nvSpPr>
          <p:spPr>
            <a:xfrm>
              <a:off x="6156476" y="4122871"/>
              <a:ext cx="899999" cy="271394"/>
            </a:xfrm>
            <a:prstGeom prst="rect">
              <a:avLst/>
            </a:prstGeom>
          </p:spPr>
          <p:txBody>
            <a:bodyPr vert="horz"/>
            <a:lstStyle>
              <a:lvl1pPr marL="0" indent="0" algn="l" defTabSz="914400" rtl="0" eaLnBrk="1" latinLnBrk="0" hangingPunct="1">
                <a:lnSpc>
                  <a:spcPct val="120000"/>
                </a:lnSpc>
                <a:spcBef>
                  <a:spcPts val="0"/>
                </a:spcBef>
                <a:buClr>
                  <a:srgbClr val="004388"/>
                </a:buClr>
                <a:buSzPct val="150000"/>
                <a:buFontTx/>
                <a:buNone/>
                <a:defRPr sz="1500" b="1" i="0" kern="1200" baseline="0">
                  <a:solidFill>
                    <a:srgbClr val="000000"/>
                  </a:solidFill>
                  <a:latin typeface="Arial"/>
                  <a:ea typeface="+mn-ea"/>
                  <a:cs typeface="Arial"/>
                </a:defRPr>
              </a:lvl1pPr>
              <a:lvl2pPr marL="0" indent="0" algn="l" defTabSz="914400" rtl="0" eaLnBrk="1" latinLnBrk="0" hangingPunct="1">
                <a:lnSpc>
                  <a:spcPct val="120000"/>
                </a:lnSpc>
                <a:spcBef>
                  <a:spcPts val="0"/>
                </a:spcBef>
                <a:buClr>
                  <a:srgbClr val="004388"/>
                </a:buClr>
                <a:buFontTx/>
                <a:buNone/>
                <a:defRPr sz="1000" b="0" kern="1200">
                  <a:solidFill>
                    <a:srgbClr val="000000"/>
                  </a:solidFill>
                  <a:latin typeface="Arial"/>
                  <a:ea typeface="+mn-ea"/>
                  <a:cs typeface="Arial"/>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90000"/>
                </a:lnSpc>
                <a:tabLst>
                  <a:tab pos="599137" algn="l"/>
                </a:tabLst>
              </a:pPr>
              <a:r>
                <a:rPr lang="en-US" sz="1067" b="0">
                  <a:solidFill>
                    <a:schemeClr val="bg1"/>
                  </a:solidFill>
                  <a:latin typeface="+mj-lt"/>
                </a:rPr>
                <a:t>0/67/136</a:t>
              </a:r>
            </a:p>
          </p:txBody>
        </p:sp>
      </p:grpSp>
      <p:sp>
        <p:nvSpPr>
          <p:cNvPr id="49" name="Textplatzhalter 37">
            <a:extLst>
              <a:ext uri="{FF2B5EF4-FFF2-40B4-BE49-F238E27FC236}">
                <a16:creationId xmlns:a16="http://schemas.microsoft.com/office/drawing/2014/main" id="{B4AC461D-5425-BA46-F23C-2D11F5808470}"/>
              </a:ext>
            </a:extLst>
          </p:cNvPr>
          <p:cNvSpPr txBox="1">
            <a:spLocks/>
          </p:cNvSpPr>
          <p:nvPr userDrawn="1"/>
        </p:nvSpPr>
        <p:spPr>
          <a:xfrm>
            <a:off x="533538" y="3864441"/>
            <a:ext cx="1129762" cy="563744"/>
          </a:xfrm>
          <a:prstGeom prst="rect">
            <a:avLst/>
          </a:prstGeom>
        </p:spPr>
        <p:txBody>
          <a:bodyPr vert="horz" wrap="square" lIns="0" tIns="0" rIns="0" bIns="0">
            <a:spAutoFit/>
          </a:bodyPr>
          <a:lstStyle>
            <a:lvl1pPr marL="0" indent="0" algn="l" defTabSz="914400" rtl="0" eaLnBrk="1" latinLnBrk="0" hangingPunct="1">
              <a:lnSpc>
                <a:spcPct val="120000"/>
              </a:lnSpc>
              <a:spcBef>
                <a:spcPts val="0"/>
              </a:spcBef>
              <a:buClr>
                <a:srgbClr val="004388"/>
              </a:buClr>
              <a:buSzPct val="150000"/>
              <a:buFontTx/>
              <a:buNone/>
              <a:defRPr sz="2400" b="1" i="0" kern="1200" baseline="0">
                <a:solidFill>
                  <a:srgbClr val="000000"/>
                </a:solidFill>
                <a:latin typeface="Arial"/>
                <a:ea typeface="+mn-ea"/>
                <a:cs typeface="Arial" panose="020B0604020202020204" pitchFamily="34" charset="0"/>
              </a:defRPr>
            </a:lvl1pPr>
            <a:lvl2pPr marL="538163" indent="-268288" algn="l" defTabSz="914400" rtl="0" eaLnBrk="1" latinLnBrk="0" hangingPunct="1">
              <a:lnSpc>
                <a:spcPct val="120000"/>
              </a:lnSpc>
              <a:spcBef>
                <a:spcPts val="0"/>
              </a:spcBef>
              <a:buClr>
                <a:srgbClr val="004388"/>
              </a:buClr>
              <a:buFont typeface="Symbol" panose="05050102010706020507" pitchFamily="18" charset="2"/>
              <a:buChar char=""/>
              <a:defRPr sz="1600" kern="1200">
                <a:solidFill>
                  <a:srgbClr val="000000"/>
                </a:solidFill>
                <a:latin typeface="Arial" panose="020B0604020202020204" pitchFamily="34" charset="0"/>
                <a:ea typeface="+mn-ea"/>
                <a:cs typeface="Arial" panose="020B0604020202020204" pitchFamily="34" charset="0"/>
              </a:defRPr>
            </a:lvl2pPr>
            <a:lvl3pPr marL="808038" indent="-266700" algn="l" defTabSz="914400" rtl="0" eaLnBrk="1" latinLnBrk="0" hangingPunct="1">
              <a:lnSpc>
                <a:spcPct val="120000"/>
              </a:lnSpc>
              <a:spcBef>
                <a:spcPts val="0"/>
              </a:spcBef>
              <a:buClr>
                <a:srgbClr val="004388"/>
              </a:buClr>
              <a:buFont typeface="Arial" panose="020B0604020202020204" pitchFamily="34" charset="0"/>
              <a:buChar char="•"/>
              <a:tabLst>
                <a:tab pos="538163" algn="l"/>
              </a:tabLst>
              <a:defRPr sz="1600" kern="1200">
                <a:solidFill>
                  <a:srgbClr val="000000"/>
                </a:solidFill>
                <a:latin typeface="Arial" panose="020B0604020202020204" pitchFamily="34" charset="0"/>
                <a:ea typeface="+mn-ea"/>
                <a:cs typeface="Arial" panose="020B0604020202020204" pitchFamily="34" charset="0"/>
              </a:defRPr>
            </a:lvl3pPr>
            <a:lvl4pPr marL="8969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4pPr>
            <a:lvl5pPr marL="1074738" indent="-177800" algn="l" defTabSz="914400" rtl="0" eaLnBrk="1" latinLnBrk="0" hangingPunct="1">
              <a:lnSpc>
                <a:spcPct val="90000"/>
              </a:lnSpc>
              <a:spcBef>
                <a:spcPts val="500"/>
              </a:spcBef>
              <a:buClr>
                <a:srgbClr val="004388"/>
              </a:buClr>
              <a:buFont typeface="Arial" panose="020B0604020202020204" pitchFamily="34" charset="0"/>
              <a:buChar char="•"/>
              <a:defRPr sz="1600" kern="1200">
                <a:solidFill>
                  <a:srgbClr val="00000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a:latin typeface="+mj-lt"/>
              </a:rPr>
              <a:t>20% </a:t>
            </a:r>
            <a:br>
              <a:rPr lang="en-US" sz="1600">
                <a:latin typeface="+mj-lt"/>
              </a:rPr>
            </a:br>
            <a:r>
              <a:rPr lang="en-US" sz="1600">
                <a:latin typeface="+mj-lt"/>
              </a:rPr>
              <a:t>of solid</a:t>
            </a:r>
          </a:p>
        </p:txBody>
      </p:sp>
    </p:spTree>
    <p:extLst>
      <p:ext uri="{BB962C8B-B14F-4D97-AF65-F5344CB8AC3E}">
        <p14:creationId xmlns:p14="http://schemas.microsoft.com/office/powerpoint/2010/main" val="36563171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 Apparel">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167B6C5-134D-4DFA-B63D-39DDFAC223F0}"/>
              </a:ext>
            </a:extLst>
          </p:cNvPr>
          <p:cNvPicPr>
            <a:picLocks noChangeAspect="1"/>
          </p:cNvPicPr>
          <p:nvPr userDrawn="1"/>
        </p:nvPicPr>
        <p:blipFill>
          <a:blip r:embed="rId4"/>
          <a:stretch>
            <a:fillRect/>
          </a:stretch>
        </p:blipFill>
        <p:spPr bwMode="gray">
          <a:xfrm>
            <a:off x="812" y="-41"/>
            <a:ext cx="12195175" cy="5940085"/>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3074" name="think-cell Folie" r:id="rId5" imgW="6350000" imgH="6350000" progId="TCLayout.ActiveDocument.1">
                  <p:embed/>
                </p:oleObj>
              </mc:Choice>
              <mc:Fallback>
                <p:oleObj name="think-cell Folie" r:id="rId5" imgW="6350000" imgH="635000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platzhalter 37"/>
          <p:cNvSpPr>
            <a:spLocks noGrp="1"/>
          </p:cNvSpPr>
          <p:nvPr>
            <p:ph type="body" sz="quarter" idx="14" hasCustomPrompt="1"/>
          </p:nvPr>
        </p:nvSpPr>
        <p:spPr bwMode="gray">
          <a:xfrm>
            <a:off x="481013" y="2854051"/>
            <a:ext cx="7345362" cy="1439839"/>
          </a:xfrm>
          <a:prstGeom prst="rect">
            <a:avLst/>
          </a:prstGeom>
        </p:spPr>
        <p:txBody>
          <a:bodyPr vert="horz"/>
          <a:lstStyle>
            <a:lvl1pPr marL="0" indent="0">
              <a:lnSpc>
                <a:spcPct val="100000"/>
              </a:lnSpc>
              <a:buFontTx/>
              <a:buNone/>
              <a:defRPr sz="4000" b="1" i="0" baseline="0">
                <a:solidFill>
                  <a:schemeClr val="bg2"/>
                </a:solidFill>
                <a:effectLst/>
                <a:latin typeface="+mj-lt"/>
              </a:defRPr>
            </a:lvl1pPr>
          </a:lstStyle>
          <a:p>
            <a:pPr lvl="0"/>
            <a:r>
              <a:rPr lang="en-US" noProof="0" dirty="0"/>
              <a:t>Apparel</a:t>
            </a:r>
          </a:p>
        </p:txBody>
      </p:sp>
      <p:sp>
        <p:nvSpPr>
          <p:cNvPr id="5" name="Date Placeholder 4"/>
          <p:cNvSpPr>
            <a:spLocks noGrp="1"/>
          </p:cNvSpPr>
          <p:nvPr>
            <p:ph type="dt" sz="half" idx="15"/>
          </p:nvPr>
        </p:nvSpPr>
        <p:spPr bwMode="gray"/>
        <p:txBody>
          <a:bodyPr/>
          <a:lstStyle/>
          <a:p>
            <a:fld id="{57A415C0-7905-4434-95CC-C70D2B57581B}" type="datetime1">
              <a:rPr lang="en-US" altLang="zh-CN" noProof="0" smtClean="0"/>
              <a:t>11/19/2023</a:t>
            </a:fld>
            <a:endParaRPr lang="en-US" noProof="0" dirty="0"/>
          </a:p>
        </p:txBody>
      </p:sp>
      <p:sp>
        <p:nvSpPr>
          <p:cNvPr id="6" name="Footer Placeholder 5"/>
          <p:cNvSpPr>
            <a:spLocks noGrp="1"/>
          </p:cNvSpPr>
          <p:nvPr>
            <p:ph type="ftr" sz="quarter" idx="16"/>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7"/>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10" name="Textplatzhalter 9">
            <a:extLst>
              <a:ext uri="{FF2B5EF4-FFF2-40B4-BE49-F238E27FC236}">
                <a16:creationId xmlns:a16="http://schemas.microsoft.com/office/drawing/2014/main" id="{91493DF2-D232-43F5-D365-27D7C64C8522}"/>
              </a:ext>
            </a:extLst>
          </p:cNvPr>
          <p:cNvSpPr>
            <a:spLocks noGrp="1"/>
          </p:cNvSpPr>
          <p:nvPr>
            <p:ph type="body" sz="quarter" idx="19" hasCustomPrompt="1"/>
          </p:nvPr>
        </p:nvSpPr>
        <p:spPr bwMode="gray">
          <a:xfrm>
            <a:off x="0" y="4330662"/>
            <a:ext cx="12195176" cy="1765339"/>
          </a:xfrm>
          <a:custGeom>
            <a:avLst/>
            <a:gdLst>
              <a:gd name="connsiteX0" fmla="*/ 12195176 w 12195176"/>
              <a:gd name="connsiteY0" fmla="*/ 0 h 1765339"/>
              <a:gd name="connsiteX1" fmla="*/ 12195176 w 12195176"/>
              <a:gd name="connsiteY1" fmla="*/ 1765339 h 1765339"/>
              <a:gd name="connsiteX2" fmla="*/ 0 w 12195176"/>
              <a:gd name="connsiteY2" fmla="*/ 1765339 h 1765339"/>
              <a:gd name="connsiteX3" fmla="*/ 0 w 12195176"/>
              <a:gd name="connsiteY3" fmla="*/ 1616456 h 1765339"/>
              <a:gd name="connsiteX4" fmla="*/ 0 w 12195176"/>
              <a:gd name="connsiteY4" fmla="*/ 899138 h 1765339"/>
              <a:gd name="connsiteX5" fmla="*/ 11744467 w 12195176"/>
              <a:gd name="connsiteY5" fmla="*/ 218109 h 176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5176" h="1765339">
                <a:moveTo>
                  <a:pt x="12195176" y="0"/>
                </a:moveTo>
                <a:lnTo>
                  <a:pt x="12195176" y="1765339"/>
                </a:lnTo>
                <a:lnTo>
                  <a:pt x="0" y="1765339"/>
                </a:lnTo>
                <a:lnTo>
                  <a:pt x="0" y="1616456"/>
                </a:lnTo>
                <a:lnTo>
                  <a:pt x="0" y="899138"/>
                </a:lnTo>
                <a:cubicBezTo>
                  <a:pt x="133556" y="928666"/>
                  <a:pt x="6999265" y="2362663"/>
                  <a:pt x="11744467" y="218109"/>
                </a:cubicBezTo>
                <a:close/>
              </a:path>
            </a:pathLst>
          </a:custGeom>
          <a:solidFill>
            <a:schemeClr val="bg1"/>
          </a:solidFill>
        </p:spPr>
        <p:txBody>
          <a:bodyPr wrap="square">
            <a:noAutofit/>
          </a:bodyPr>
          <a:lstStyle>
            <a:lvl1pPr marL="0" indent="0">
              <a:buNone/>
              <a:defRPr/>
            </a:lvl1pPr>
          </a:lstStyle>
          <a:p>
            <a:pPr lvl="0"/>
            <a:r>
              <a:rPr lang="en-US" noProof="0" dirty="0"/>
              <a:t> </a:t>
            </a:r>
          </a:p>
        </p:txBody>
      </p:sp>
    </p:spTree>
    <p:extLst>
      <p:ext uri="{BB962C8B-B14F-4D97-AF65-F5344CB8AC3E}">
        <p14:creationId xmlns:p14="http://schemas.microsoft.com/office/powerpoint/2010/main" val="851526915"/>
      </p:ext>
    </p:extLst>
  </p:cSld>
  <p:clrMapOvr>
    <a:masterClrMapping/>
  </p:clrMapOvr>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ivider | Automotiv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167B6C5-134D-4DFA-B63D-39DDFAC223F0}"/>
              </a:ext>
            </a:extLst>
          </p:cNvPr>
          <p:cNvPicPr>
            <a:picLocks noChangeAspect="1"/>
          </p:cNvPicPr>
          <p:nvPr userDrawn="1"/>
        </p:nvPicPr>
        <p:blipFill>
          <a:blip r:embed="rId4"/>
          <a:stretch>
            <a:fillRect/>
          </a:stretch>
        </p:blipFill>
        <p:spPr bwMode="gray">
          <a:xfrm>
            <a:off x="812" y="-42"/>
            <a:ext cx="12195175" cy="5940085"/>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4098" name="think-cell Folie" r:id="rId5" imgW="6350000" imgH="6350000" progId="TCLayout.ActiveDocument.1">
                  <p:embed/>
                </p:oleObj>
              </mc:Choice>
              <mc:Fallback>
                <p:oleObj name="think-cell Folie" r:id="rId5" imgW="6350000" imgH="635000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platzhalter 37"/>
          <p:cNvSpPr>
            <a:spLocks noGrp="1"/>
          </p:cNvSpPr>
          <p:nvPr>
            <p:ph type="body" sz="quarter" idx="14" hasCustomPrompt="1"/>
          </p:nvPr>
        </p:nvSpPr>
        <p:spPr bwMode="gray">
          <a:xfrm>
            <a:off x="481013" y="2854051"/>
            <a:ext cx="7345362" cy="1439839"/>
          </a:xfrm>
          <a:prstGeom prst="rect">
            <a:avLst/>
          </a:prstGeom>
        </p:spPr>
        <p:txBody>
          <a:bodyPr vert="horz"/>
          <a:lstStyle>
            <a:lvl1pPr marL="0" indent="0">
              <a:lnSpc>
                <a:spcPct val="100000"/>
              </a:lnSpc>
              <a:buFontTx/>
              <a:buNone/>
              <a:defRPr sz="4000" b="1" i="0" baseline="0">
                <a:solidFill>
                  <a:schemeClr val="bg2"/>
                </a:solidFill>
                <a:effectLst/>
                <a:latin typeface="+mj-lt"/>
              </a:defRPr>
            </a:lvl1pPr>
          </a:lstStyle>
          <a:p>
            <a:pPr lvl="0"/>
            <a:r>
              <a:rPr lang="en-US" noProof="0" dirty="0"/>
              <a:t>Automotive</a:t>
            </a:r>
          </a:p>
        </p:txBody>
      </p:sp>
      <p:sp>
        <p:nvSpPr>
          <p:cNvPr id="5" name="Date Placeholder 4"/>
          <p:cNvSpPr>
            <a:spLocks noGrp="1"/>
          </p:cNvSpPr>
          <p:nvPr>
            <p:ph type="dt" sz="half" idx="15"/>
          </p:nvPr>
        </p:nvSpPr>
        <p:spPr bwMode="gray"/>
        <p:txBody>
          <a:bodyPr/>
          <a:lstStyle/>
          <a:p>
            <a:fld id="{8B2F20BD-73A3-4FD9-8406-CEFA3E68CABE}" type="datetime1">
              <a:rPr lang="en-US" altLang="zh-CN" noProof="0" smtClean="0"/>
              <a:t>11/19/2023</a:t>
            </a:fld>
            <a:endParaRPr lang="en-US" noProof="0" dirty="0"/>
          </a:p>
        </p:txBody>
      </p:sp>
      <p:sp>
        <p:nvSpPr>
          <p:cNvPr id="6" name="Footer Placeholder 5"/>
          <p:cNvSpPr>
            <a:spLocks noGrp="1"/>
          </p:cNvSpPr>
          <p:nvPr>
            <p:ph type="ftr" sz="quarter" idx="16"/>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7"/>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10" name="Textplatzhalter 9">
            <a:extLst>
              <a:ext uri="{FF2B5EF4-FFF2-40B4-BE49-F238E27FC236}">
                <a16:creationId xmlns:a16="http://schemas.microsoft.com/office/drawing/2014/main" id="{91493DF2-D232-43F5-D365-27D7C64C8522}"/>
              </a:ext>
            </a:extLst>
          </p:cNvPr>
          <p:cNvSpPr>
            <a:spLocks noGrp="1"/>
          </p:cNvSpPr>
          <p:nvPr>
            <p:ph type="body" sz="quarter" idx="19" hasCustomPrompt="1"/>
          </p:nvPr>
        </p:nvSpPr>
        <p:spPr bwMode="gray">
          <a:xfrm>
            <a:off x="0" y="4330662"/>
            <a:ext cx="12195176" cy="1765339"/>
          </a:xfrm>
          <a:custGeom>
            <a:avLst/>
            <a:gdLst>
              <a:gd name="connsiteX0" fmla="*/ 12195176 w 12195176"/>
              <a:gd name="connsiteY0" fmla="*/ 0 h 1765339"/>
              <a:gd name="connsiteX1" fmla="*/ 12195176 w 12195176"/>
              <a:gd name="connsiteY1" fmla="*/ 1765339 h 1765339"/>
              <a:gd name="connsiteX2" fmla="*/ 0 w 12195176"/>
              <a:gd name="connsiteY2" fmla="*/ 1765339 h 1765339"/>
              <a:gd name="connsiteX3" fmla="*/ 0 w 12195176"/>
              <a:gd name="connsiteY3" fmla="*/ 1616456 h 1765339"/>
              <a:gd name="connsiteX4" fmla="*/ 0 w 12195176"/>
              <a:gd name="connsiteY4" fmla="*/ 899138 h 1765339"/>
              <a:gd name="connsiteX5" fmla="*/ 11744467 w 12195176"/>
              <a:gd name="connsiteY5" fmla="*/ 218109 h 176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5176" h="1765339">
                <a:moveTo>
                  <a:pt x="12195176" y="0"/>
                </a:moveTo>
                <a:lnTo>
                  <a:pt x="12195176" y="1765339"/>
                </a:lnTo>
                <a:lnTo>
                  <a:pt x="0" y="1765339"/>
                </a:lnTo>
                <a:lnTo>
                  <a:pt x="0" y="1616456"/>
                </a:lnTo>
                <a:lnTo>
                  <a:pt x="0" y="899138"/>
                </a:lnTo>
                <a:cubicBezTo>
                  <a:pt x="133556" y="928666"/>
                  <a:pt x="6999265" y="2362663"/>
                  <a:pt x="11744467" y="218109"/>
                </a:cubicBezTo>
                <a:close/>
              </a:path>
            </a:pathLst>
          </a:custGeom>
          <a:solidFill>
            <a:schemeClr val="bg1"/>
          </a:solidFill>
        </p:spPr>
        <p:txBody>
          <a:bodyPr wrap="square">
            <a:noAutofit/>
          </a:bodyPr>
          <a:lstStyle>
            <a:lvl1pPr marL="0" indent="0">
              <a:buNone/>
              <a:defRPr/>
            </a:lvl1pPr>
          </a:lstStyle>
          <a:p>
            <a:pPr lvl="0"/>
            <a:r>
              <a:rPr lang="en-US" noProof="0" dirty="0"/>
              <a:t> </a:t>
            </a:r>
          </a:p>
        </p:txBody>
      </p:sp>
    </p:spTree>
    <p:extLst>
      <p:ext uri="{BB962C8B-B14F-4D97-AF65-F5344CB8AC3E}">
        <p14:creationId xmlns:p14="http://schemas.microsoft.com/office/powerpoint/2010/main" val="56059406"/>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 B&amp;C">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167B6C5-134D-4DFA-B63D-39DDFAC223F0}"/>
              </a:ext>
            </a:extLst>
          </p:cNvPr>
          <p:cNvPicPr>
            <a:picLocks noChangeAspect="1"/>
          </p:cNvPicPr>
          <p:nvPr userDrawn="1"/>
        </p:nvPicPr>
        <p:blipFill>
          <a:blip r:embed="rId4"/>
          <a:stretch>
            <a:fillRect/>
          </a:stretch>
        </p:blipFill>
        <p:spPr bwMode="gray">
          <a:xfrm>
            <a:off x="812" y="-42"/>
            <a:ext cx="12195175" cy="5940085"/>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5122" name="think-cell Folie" r:id="rId5" imgW="6350000" imgH="6350000" progId="TCLayout.ActiveDocument.1">
                  <p:embed/>
                </p:oleObj>
              </mc:Choice>
              <mc:Fallback>
                <p:oleObj name="think-cell Folie" r:id="rId5" imgW="6350000" imgH="635000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platzhalter 37"/>
          <p:cNvSpPr>
            <a:spLocks noGrp="1"/>
          </p:cNvSpPr>
          <p:nvPr>
            <p:ph type="body" sz="quarter" idx="14" hasCustomPrompt="1"/>
          </p:nvPr>
        </p:nvSpPr>
        <p:spPr bwMode="gray">
          <a:xfrm>
            <a:off x="481013" y="2854051"/>
            <a:ext cx="7345362" cy="1439839"/>
          </a:xfrm>
          <a:prstGeom prst="rect">
            <a:avLst/>
          </a:prstGeom>
        </p:spPr>
        <p:txBody>
          <a:bodyPr vert="horz"/>
          <a:lstStyle>
            <a:lvl1pPr marL="0" indent="0">
              <a:lnSpc>
                <a:spcPct val="100000"/>
              </a:lnSpc>
              <a:buFontTx/>
              <a:buNone/>
              <a:defRPr sz="4000" b="1" i="0" baseline="0">
                <a:solidFill>
                  <a:schemeClr val="bg2"/>
                </a:solidFill>
                <a:effectLst/>
                <a:latin typeface="+mj-lt"/>
              </a:defRPr>
            </a:lvl1pPr>
          </a:lstStyle>
          <a:p>
            <a:pPr lvl="0"/>
            <a:r>
              <a:rPr lang="en-US" noProof="0" dirty="0"/>
              <a:t>Building &amp; Construction</a:t>
            </a:r>
          </a:p>
        </p:txBody>
      </p:sp>
      <p:sp>
        <p:nvSpPr>
          <p:cNvPr id="5" name="Date Placeholder 4"/>
          <p:cNvSpPr>
            <a:spLocks noGrp="1"/>
          </p:cNvSpPr>
          <p:nvPr>
            <p:ph type="dt" sz="half" idx="15"/>
          </p:nvPr>
        </p:nvSpPr>
        <p:spPr bwMode="gray"/>
        <p:txBody>
          <a:bodyPr/>
          <a:lstStyle/>
          <a:p>
            <a:fld id="{169768EC-59BC-4E5C-8676-0644445A1887}" type="datetime1">
              <a:rPr lang="en-US" altLang="zh-CN" noProof="0" smtClean="0"/>
              <a:t>11/19/2023</a:t>
            </a:fld>
            <a:endParaRPr lang="en-US" noProof="0" dirty="0"/>
          </a:p>
        </p:txBody>
      </p:sp>
      <p:sp>
        <p:nvSpPr>
          <p:cNvPr id="6" name="Footer Placeholder 5"/>
          <p:cNvSpPr>
            <a:spLocks noGrp="1"/>
          </p:cNvSpPr>
          <p:nvPr>
            <p:ph type="ftr" sz="quarter" idx="16"/>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7"/>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10" name="Textplatzhalter 9">
            <a:extLst>
              <a:ext uri="{FF2B5EF4-FFF2-40B4-BE49-F238E27FC236}">
                <a16:creationId xmlns:a16="http://schemas.microsoft.com/office/drawing/2014/main" id="{91493DF2-D232-43F5-D365-27D7C64C8522}"/>
              </a:ext>
            </a:extLst>
          </p:cNvPr>
          <p:cNvSpPr>
            <a:spLocks noGrp="1"/>
          </p:cNvSpPr>
          <p:nvPr>
            <p:ph type="body" sz="quarter" idx="19" hasCustomPrompt="1"/>
          </p:nvPr>
        </p:nvSpPr>
        <p:spPr bwMode="gray">
          <a:xfrm>
            <a:off x="0" y="4330662"/>
            <a:ext cx="12195176" cy="1765339"/>
          </a:xfrm>
          <a:custGeom>
            <a:avLst/>
            <a:gdLst>
              <a:gd name="connsiteX0" fmla="*/ 12195176 w 12195176"/>
              <a:gd name="connsiteY0" fmla="*/ 0 h 1765339"/>
              <a:gd name="connsiteX1" fmla="*/ 12195176 w 12195176"/>
              <a:gd name="connsiteY1" fmla="*/ 1765339 h 1765339"/>
              <a:gd name="connsiteX2" fmla="*/ 0 w 12195176"/>
              <a:gd name="connsiteY2" fmla="*/ 1765339 h 1765339"/>
              <a:gd name="connsiteX3" fmla="*/ 0 w 12195176"/>
              <a:gd name="connsiteY3" fmla="*/ 1616456 h 1765339"/>
              <a:gd name="connsiteX4" fmla="*/ 0 w 12195176"/>
              <a:gd name="connsiteY4" fmla="*/ 899138 h 1765339"/>
              <a:gd name="connsiteX5" fmla="*/ 11744467 w 12195176"/>
              <a:gd name="connsiteY5" fmla="*/ 218109 h 176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5176" h="1765339">
                <a:moveTo>
                  <a:pt x="12195176" y="0"/>
                </a:moveTo>
                <a:lnTo>
                  <a:pt x="12195176" y="1765339"/>
                </a:lnTo>
                <a:lnTo>
                  <a:pt x="0" y="1765339"/>
                </a:lnTo>
                <a:lnTo>
                  <a:pt x="0" y="1616456"/>
                </a:lnTo>
                <a:lnTo>
                  <a:pt x="0" y="899138"/>
                </a:lnTo>
                <a:cubicBezTo>
                  <a:pt x="133556" y="928666"/>
                  <a:pt x="6999265" y="2362663"/>
                  <a:pt x="11744467" y="218109"/>
                </a:cubicBezTo>
                <a:close/>
              </a:path>
            </a:pathLst>
          </a:custGeom>
          <a:solidFill>
            <a:schemeClr val="bg1"/>
          </a:solidFill>
        </p:spPr>
        <p:txBody>
          <a:bodyPr wrap="square">
            <a:noAutofit/>
          </a:bodyPr>
          <a:lstStyle>
            <a:lvl1pPr marL="0" indent="0">
              <a:buNone/>
              <a:defRPr/>
            </a:lvl1pPr>
          </a:lstStyle>
          <a:p>
            <a:pPr lvl="0"/>
            <a:r>
              <a:rPr lang="en-US" noProof="0" dirty="0"/>
              <a:t> </a:t>
            </a:r>
          </a:p>
        </p:txBody>
      </p:sp>
    </p:spTree>
    <p:extLst>
      <p:ext uri="{BB962C8B-B14F-4D97-AF65-F5344CB8AC3E}">
        <p14:creationId xmlns:p14="http://schemas.microsoft.com/office/powerpoint/2010/main" val="93673536"/>
      </p:ext>
    </p:extLst>
  </p:cSld>
  <p:clrMapOvr>
    <a:masterClrMapping/>
  </p:clrMapOvr>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 CF&amp;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167B6C5-134D-4DFA-B63D-39DDFAC223F0}"/>
              </a:ext>
            </a:extLst>
          </p:cNvPr>
          <p:cNvPicPr>
            <a:picLocks noChangeAspect="1"/>
          </p:cNvPicPr>
          <p:nvPr userDrawn="1"/>
        </p:nvPicPr>
        <p:blipFill>
          <a:blip r:embed="rId4"/>
          <a:stretch>
            <a:fillRect/>
          </a:stretch>
        </p:blipFill>
        <p:spPr bwMode="gray">
          <a:xfrm>
            <a:off x="812" y="-42"/>
            <a:ext cx="12195175" cy="5940085"/>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6146" name="think-cell Folie" r:id="rId5" imgW="6350000" imgH="6350000" progId="TCLayout.ActiveDocument.1">
                  <p:embed/>
                </p:oleObj>
              </mc:Choice>
              <mc:Fallback>
                <p:oleObj name="think-cell Folie" r:id="rId5" imgW="6350000" imgH="635000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platzhalter 37"/>
          <p:cNvSpPr>
            <a:spLocks noGrp="1"/>
          </p:cNvSpPr>
          <p:nvPr>
            <p:ph type="body" sz="quarter" idx="14" hasCustomPrompt="1"/>
          </p:nvPr>
        </p:nvSpPr>
        <p:spPr bwMode="gray">
          <a:xfrm>
            <a:off x="481013" y="2854051"/>
            <a:ext cx="7345362" cy="1439839"/>
          </a:xfrm>
          <a:prstGeom prst="rect">
            <a:avLst/>
          </a:prstGeom>
        </p:spPr>
        <p:txBody>
          <a:bodyPr vert="horz"/>
          <a:lstStyle>
            <a:lvl1pPr marL="0" indent="0">
              <a:lnSpc>
                <a:spcPct val="100000"/>
              </a:lnSpc>
              <a:buFontTx/>
              <a:buNone/>
              <a:defRPr sz="4000" b="1" i="0" baseline="0">
                <a:solidFill>
                  <a:schemeClr val="bg2"/>
                </a:solidFill>
                <a:effectLst/>
                <a:latin typeface="+mj-lt"/>
              </a:defRPr>
            </a:lvl1pPr>
          </a:lstStyle>
          <a:p>
            <a:pPr lvl="0"/>
            <a:r>
              <a:rPr lang="en-US" noProof="0" dirty="0"/>
              <a:t>Carpet, Filtration &amp; Shoe</a:t>
            </a:r>
          </a:p>
        </p:txBody>
      </p:sp>
      <p:sp>
        <p:nvSpPr>
          <p:cNvPr id="5" name="Date Placeholder 4"/>
          <p:cNvSpPr>
            <a:spLocks noGrp="1"/>
          </p:cNvSpPr>
          <p:nvPr>
            <p:ph type="dt" sz="half" idx="15"/>
          </p:nvPr>
        </p:nvSpPr>
        <p:spPr bwMode="gray"/>
        <p:txBody>
          <a:bodyPr/>
          <a:lstStyle/>
          <a:p>
            <a:fld id="{35486D5B-A475-4A37-9276-DDB626BF01A4}" type="datetime1">
              <a:rPr lang="en-US" altLang="zh-CN" noProof="0" smtClean="0"/>
              <a:t>11/19/2023</a:t>
            </a:fld>
            <a:endParaRPr lang="en-US" noProof="0" dirty="0"/>
          </a:p>
        </p:txBody>
      </p:sp>
      <p:sp>
        <p:nvSpPr>
          <p:cNvPr id="6" name="Footer Placeholder 5"/>
          <p:cNvSpPr>
            <a:spLocks noGrp="1"/>
          </p:cNvSpPr>
          <p:nvPr>
            <p:ph type="ftr" sz="quarter" idx="16"/>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7"/>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10" name="Textplatzhalter 9">
            <a:extLst>
              <a:ext uri="{FF2B5EF4-FFF2-40B4-BE49-F238E27FC236}">
                <a16:creationId xmlns:a16="http://schemas.microsoft.com/office/drawing/2014/main" id="{91493DF2-D232-43F5-D365-27D7C64C8522}"/>
              </a:ext>
            </a:extLst>
          </p:cNvPr>
          <p:cNvSpPr>
            <a:spLocks noGrp="1"/>
          </p:cNvSpPr>
          <p:nvPr>
            <p:ph type="body" sz="quarter" idx="19" hasCustomPrompt="1"/>
          </p:nvPr>
        </p:nvSpPr>
        <p:spPr bwMode="gray">
          <a:xfrm>
            <a:off x="0" y="4330662"/>
            <a:ext cx="12195176" cy="1765339"/>
          </a:xfrm>
          <a:custGeom>
            <a:avLst/>
            <a:gdLst>
              <a:gd name="connsiteX0" fmla="*/ 12195176 w 12195176"/>
              <a:gd name="connsiteY0" fmla="*/ 0 h 1765339"/>
              <a:gd name="connsiteX1" fmla="*/ 12195176 w 12195176"/>
              <a:gd name="connsiteY1" fmla="*/ 1765339 h 1765339"/>
              <a:gd name="connsiteX2" fmla="*/ 0 w 12195176"/>
              <a:gd name="connsiteY2" fmla="*/ 1765339 h 1765339"/>
              <a:gd name="connsiteX3" fmla="*/ 0 w 12195176"/>
              <a:gd name="connsiteY3" fmla="*/ 1616456 h 1765339"/>
              <a:gd name="connsiteX4" fmla="*/ 0 w 12195176"/>
              <a:gd name="connsiteY4" fmla="*/ 899138 h 1765339"/>
              <a:gd name="connsiteX5" fmla="*/ 11744467 w 12195176"/>
              <a:gd name="connsiteY5" fmla="*/ 218109 h 176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5176" h="1765339">
                <a:moveTo>
                  <a:pt x="12195176" y="0"/>
                </a:moveTo>
                <a:lnTo>
                  <a:pt x="12195176" y="1765339"/>
                </a:lnTo>
                <a:lnTo>
                  <a:pt x="0" y="1765339"/>
                </a:lnTo>
                <a:lnTo>
                  <a:pt x="0" y="1616456"/>
                </a:lnTo>
                <a:lnTo>
                  <a:pt x="0" y="899138"/>
                </a:lnTo>
                <a:cubicBezTo>
                  <a:pt x="133556" y="928666"/>
                  <a:pt x="6999265" y="2362663"/>
                  <a:pt x="11744467" y="218109"/>
                </a:cubicBezTo>
                <a:close/>
              </a:path>
            </a:pathLst>
          </a:custGeom>
          <a:solidFill>
            <a:schemeClr val="bg1"/>
          </a:solidFill>
        </p:spPr>
        <p:txBody>
          <a:bodyPr wrap="square">
            <a:noAutofit/>
          </a:bodyPr>
          <a:lstStyle>
            <a:lvl1pPr marL="0" indent="0">
              <a:buNone/>
              <a:defRPr/>
            </a:lvl1pPr>
          </a:lstStyle>
          <a:p>
            <a:pPr lvl="0"/>
            <a:r>
              <a:rPr lang="en-US" noProof="0" dirty="0"/>
              <a:t> </a:t>
            </a:r>
          </a:p>
        </p:txBody>
      </p:sp>
    </p:spTree>
    <p:extLst>
      <p:ext uri="{BB962C8B-B14F-4D97-AF65-F5344CB8AC3E}">
        <p14:creationId xmlns:p14="http://schemas.microsoft.com/office/powerpoint/2010/main" val="3508642125"/>
      </p:ext>
    </p:extLst>
  </p:cSld>
  <p:clrMapOvr>
    <a:masterClrMapping/>
  </p:clrMapOvr>
  <p:extLst mod="1">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 Civil Engineerin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167B6C5-134D-4DFA-B63D-39DDFAC223F0}"/>
              </a:ext>
            </a:extLst>
          </p:cNvPr>
          <p:cNvPicPr>
            <a:picLocks noChangeAspect="1"/>
          </p:cNvPicPr>
          <p:nvPr userDrawn="1"/>
        </p:nvPicPr>
        <p:blipFill>
          <a:blip r:embed="rId4"/>
          <a:stretch>
            <a:fillRect/>
          </a:stretch>
        </p:blipFill>
        <p:spPr bwMode="gray">
          <a:xfrm>
            <a:off x="812" y="-42"/>
            <a:ext cx="12195175" cy="5940085"/>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7170" name="think-cell Folie" r:id="rId5" imgW="6350000" imgH="6350000" progId="TCLayout.ActiveDocument.1">
                  <p:embed/>
                </p:oleObj>
              </mc:Choice>
              <mc:Fallback>
                <p:oleObj name="think-cell Folie" r:id="rId5" imgW="6350000" imgH="635000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platzhalter 37"/>
          <p:cNvSpPr>
            <a:spLocks noGrp="1"/>
          </p:cNvSpPr>
          <p:nvPr>
            <p:ph type="body" sz="quarter" idx="14" hasCustomPrompt="1"/>
          </p:nvPr>
        </p:nvSpPr>
        <p:spPr bwMode="gray">
          <a:xfrm>
            <a:off x="481013" y="2854051"/>
            <a:ext cx="7345362" cy="1439839"/>
          </a:xfrm>
          <a:prstGeom prst="rect">
            <a:avLst/>
          </a:prstGeom>
        </p:spPr>
        <p:txBody>
          <a:bodyPr vert="horz"/>
          <a:lstStyle>
            <a:lvl1pPr marL="0" indent="0">
              <a:lnSpc>
                <a:spcPct val="100000"/>
              </a:lnSpc>
              <a:buFontTx/>
              <a:buNone/>
              <a:defRPr sz="4000" b="1" i="0" baseline="0">
                <a:solidFill>
                  <a:schemeClr val="bg2"/>
                </a:solidFill>
                <a:effectLst/>
                <a:latin typeface="+mj-lt"/>
              </a:defRPr>
            </a:lvl1pPr>
          </a:lstStyle>
          <a:p>
            <a:pPr lvl="0"/>
            <a:r>
              <a:rPr lang="en-US" noProof="0" dirty="0"/>
              <a:t>Civil Engineering</a:t>
            </a:r>
          </a:p>
        </p:txBody>
      </p:sp>
      <p:sp>
        <p:nvSpPr>
          <p:cNvPr id="5" name="Date Placeholder 4"/>
          <p:cNvSpPr>
            <a:spLocks noGrp="1"/>
          </p:cNvSpPr>
          <p:nvPr>
            <p:ph type="dt" sz="half" idx="15"/>
          </p:nvPr>
        </p:nvSpPr>
        <p:spPr bwMode="gray"/>
        <p:txBody>
          <a:bodyPr/>
          <a:lstStyle/>
          <a:p>
            <a:fld id="{8C15BB67-18E8-49EE-B837-107D99CE6518}" type="datetime1">
              <a:rPr lang="en-US" altLang="zh-CN" noProof="0" smtClean="0"/>
              <a:t>11/19/2023</a:t>
            </a:fld>
            <a:endParaRPr lang="en-US" noProof="0" dirty="0"/>
          </a:p>
        </p:txBody>
      </p:sp>
      <p:sp>
        <p:nvSpPr>
          <p:cNvPr id="6" name="Footer Placeholder 5"/>
          <p:cNvSpPr>
            <a:spLocks noGrp="1"/>
          </p:cNvSpPr>
          <p:nvPr>
            <p:ph type="ftr" sz="quarter" idx="16"/>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7"/>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10" name="Textplatzhalter 9">
            <a:extLst>
              <a:ext uri="{FF2B5EF4-FFF2-40B4-BE49-F238E27FC236}">
                <a16:creationId xmlns:a16="http://schemas.microsoft.com/office/drawing/2014/main" id="{91493DF2-D232-43F5-D365-27D7C64C8522}"/>
              </a:ext>
            </a:extLst>
          </p:cNvPr>
          <p:cNvSpPr>
            <a:spLocks noGrp="1"/>
          </p:cNvSpPr>
          <p:nvPr>
            <p:ph type="body" sz="quarter" idx="19" hasCustomPrompt="1"/>
          </p:nvPr>
        </p:nvSpPr>
        <p:spPr bwMode="gray">
          <a:xfrm>
            <a:off x="0" y="4330662"/>
            <a:ext cx="12195176" cy="1765339"/>
          </a:xfrm>
          <a:custGeom>
            <a:avLst/>
            <a:gdLst>
              <a:gd name="connsiteX0" fmla="*/ 12195176 w 12195176"/>
              <a:gd name="connsiteY0" fmla="*/ 0 h 1765339"/>
              <a:gd name="connsiteX1" fmla="*/ 12195176 w 12195176"/>
              <a:gd name="connsiteY1" fmla="*/ 1765339 h 1765339"/>
              <a:gd name="connsiteX2" fmla="*/ 0 w 12195176"/>
              <a:gd name="connsiteY2" fmla="*/ 1765339 h 1765339"/>
              <a:gd name="connsiteX3" fmla="*/ 0 w 12195176"/>
              <a:gd name="connsiteY3" fmla="*/ 1616456 h 1765339"/>
              <a:gd name="connsiteX4" fmla="*/ 0 w 12195176"/>
              <a:gd name="connsiteY4" fmla="*/ 899138 h 1765339"/>
              <a:gd name="connsiteX5" fmla="*/ 11744467 w 12195176"/>
              <a:gd name="connsiteY5" fmla="*/ 218109 h 176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5176" h="1765339">
                <a:moveTo>
                  <a:pt x="12195176" y="0"/>
                </a:moveTo>
                <a:lnTo>
                  <a:pt x="12195176" y="1765339"/>
                </a:lnTo>
                <a:lnTo>
                  <a:pt x="0" y="1765339"/>
                </a:lnTo>
                <a:lnTo>
                  <a:pt x="0" y="1616456"/>
                </a:lnTo>
                <a:lnTo>
                  <a:pt x="0" y="899138"/>
                </a:lnTo>
                <a:cubicBezTo>
                  <a:pt x="133556" y="928666"/>
                  <a:pt x="6999265" y="2362663"/>
                  <a:pt x="11744467" y="218109"/>
                </a:cubicBezTo>
                <a:close/>
              </a:path>
            </a:pathLst>
          </a:custGeom>
          <a:solidFill>
            <a:schemeClr val="bg1"/>
          </a:solidFill>
        </p:spPr>
        <p:txBody>
          <a:bodyPr wrap="square">
            <a:noAutofit/>
          </a:bodyPr>
          <a:lstStyle>
            <a:lvl1pPr marL="0" indent="0">
              <a:buNone/>
              <a:defRPr/>
            </a:lvl1pPr>
          </a:lstStyle>
          <a:p>
            <a:pPr lvl="0"/>
            <a:r>
              <a:rPr lang="en-US" noProof="0" dirty="0"/>
              <a:t> </a:t>
            </a:r>
          </a:p>
        </p:txBody>
      </p:sp>
    </p:spTree>
    <p:extLst>
      <p:ext uri="{BB962C8B-B14F-4D97-AF65-F5344CB8AC3E}">
        <p14:creationId xmlns:p14="http://schemas.microsoft.com/office/powerpoint/2010/main" val="2294666838"/>
      </p:ext>
    </p:extLst>
  </p:cSld>
  <p:clrMapOvr>
    <a:masterClrMapping/>
  </p:clrMapOvr>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Divider | CT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167B6C5-134D-4DFA-B63D-39DDFAC223F0}"/>
              </a:ext>
            </a:extLst>
          </p:cNvPr>
          <p:cNvPicPr>
            <a:picLocks noChangeAspect="1"/>
          </p:cNvPicPr>
          <p:nvPr userDrawn="1"/>
        </p:nvPicPr>
        <p:blipFill>
          <a:blip r:embed="rId4"/>
          <a:stretch>
            <a:fillRect/>
          </a:stretch>
        </p:blipFill>
        <p:spPr bwMode="gray">
          <a:xfrm>
            <a:off x="900" y="0"/>
            <a:ext cx="12195000" cy="594000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8194" name="think-cell Folie" r:id="rId5" imgW="6350000" imgH="6350000" progId="TCLayout.ActiveDocument.1">
                  <p:embed/>
                </p:oleObj>
              </mc:Choice>
              <mc:Fallback>
                <p:oleObj name="think-cell Folie" r:id="rId5" imgW="6350000" imgH="635000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platzhalter 37"/>
          <p:cNvSpPr>
            <a:spLocks noGrp="1"/>
          </p:cNvSpPr>
          <p:nvPr>
            <p:ph type="body" sz="quarter" idx="14" hasCustomPrompt="1"/>
          </p:nvPr>
        </p:nvSpPr>
        <p:spPr bwMode="gray">
          <a:xfrm>
            <a:off x="481013" y="2854051"/>
            <a:ext cx="7345362" cy="1439839"/>
          </a:xfrm>
          <a:prstGeom prst="rect">
            <a:avLst/>
          </a:prstGeom>
        </p:spPr>
        <p:txBody>
          <a:bodyPr vert="horz"/>
          <a:lstStyle>
            <a:lvl1pPr marL="0" indent="0">
              <a:lnSpc>
                <a:spcPct val="100000"/>
              </a:lnSpc>
              <a:buFontTx/>
              <a:buNone/>
              <a:defRPr sz="4000" b="1" i="0" baseline="0">
                <a:solidFill>
                  <a:schemeClr val="bg2"/>
                </a:solidFill>
                <a:effectLst/>
                <a:latin typeface="+mj-lt"/>
              </a:defRPr>
            </a:lvl1pPr>
          </a:lstStyle>
          <a:p>
            <a:pPr lvl="0"/>
            <a:r>
              <a:rPr lang="en-US" noProof="0" dirty="0"/>
              <a:t>Coated Technical Textiles</a:t>
            </a:r>
          </a:p>
        </p:txBody>
      </p:sp>
      <p:sp>
        <p:nvSpPr>
          <p:cNvPr id="5" name="Date Placeholder 4"/>
          <p:cNvSpPr>
            <a:spLocks noGrp="1"/>
          </p:cNvSpPr>
          <p:nvPr>
            <p:ph type="dt" sz="half" idx="15"/>
          </p:nvPr>
        </p:nvSpPr>
        <p:spPr bwMode="gray"/>
        <p:txBody>
          <a:bodyPr/>
          <a:lstStyle/>
          <a:p>
            <a:fld id="{16D49A99-9080-4777-8C5A-9FA7FC3FF5EB}" type="datetime1">
              <a:rPr lang="en-US" altLang="zh-CN" noProof="0" smtClean="0"/>
              <a:t>11/19/2023</a:t>
            </a:fld>
            <a:endParaRPr lang="en-US" noProof="0" dirty="0"/>
          </a:p>
        </p:txBody>
      </p:sp>
      <p:sp>
        <p:nvSpPr>
          <p:cNvPr id="6" name="Footer Placeholder 5"/>
          <p:cNvSpPr>
            <a:spLocks noGrp="1"/>
          </p:cNvSpPr>
          <p:nvPr>
            <p:ph type="ftr" sz="quarter" idx="16"/>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7"/>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10" name="Textplatzhalter 9">
            <a:extLst>
              <a:ext uri="{FF2B5EF4-FFF2-40B4-BE49-F238E27FC236}">
                <a16:creationId xmlns:a16="http://schemas.microsoft.com/office/drawing/2014/main" id="{91493DF2-D232-43F5-D365-27D7C64C8522}"/>
              </a:ext>
            </a:extLst>
          </p:cNvPr>
          <p:cNvSpPr>
            <a:spLocks noGrp="1"/>
          </p:cNvSpPr>
          <p:nvPr>
            <p:ph type="body" sz="quarter" idx="19" hasCustomPrompt="1"/>
          </p:nvPr>
        </p:nvSpPr>
        <p:spPr bwMode="gray">
          <a:xfrm>
            <a:off x="0" y="4330662"/>
            <a:ext cx="12195176" cy="1765339"/>
          </a:xfrm>
          <a:custGeom>
            <a:avLst/>
            <a:gdLst>
              <a:gd name="connsiteX0" fmla="*/ 12195176 w 12195176"/>
              <a:gd name="connsiteY0" fmla="*/ 0 h 1765339"/>
              <a:gd name="connsiteX1" fmla="*/ 12195176 w 12195176"/>
              <a:gd name="connsiteY1" fmla="*/ 1765339 h 1765339"/>
              <a:gd name="connsiteX2" fmla="*/ 0 w 12195176"/>
              <a:gd name="connsiteY2" fmla="*/ 1765339 h 1765339"/>
              <a:gd name="connsiteX3" fmla="*/ 0 w 12195176"/>
              <a:gd name="connsiteY3" fmla="*/ 1616456 h 1765339"/>
              <a:gd name="connsiteX4" fmla="*/ 0 w 12195176"/>
              <a:gd name="connsiteY4" fmla="*/ 899138 h 1765339"/>
              <a:gd name="connsiteX5" fmla="*/ 11744467 w 12195176"/>
              <a:gd name="connsiteY5" fmla="*/ 218109 h 176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5176" h="1765339">
                <a:moveTo>
                  <a:pt x="12195176" y="0"/>
                </a:moveTo>
                <a:lnTo>
                  <a:pt x="12195176" y="1765339"/>
                </a:lnTo>
                <a:lnTo>
                  <a:pt x="0" y="1765339"/>
                </a:lnTo>
                <a:lnTo>
                  <a:pt x="0" y="1616456"/>
                </a:lnTo>
                <a:lnTo>
                  <a:pt x="0" y="899138"/>
                </a:lnTo>
                <a:cubicBezTo>
                  <a:pt x="133556" y="928666"/>
                  <a:pt x="6999265" y="2362663"/>
                  <a:pt x="11744467" y="218109"/>
                </a:cubicBezTo>
                <a:close/>
              </a:path>
            </a:pathLst>
          </a:custGeom>
          <a:solidFill>
            <a:schemeClr val="bg1"/>
          </a:solidFill>
        </p:spPr>
        <p:txBody>
          <a:bodyPr wrap="square">
            <a:noAutofit/>
          </a:bodyPr>
          <a:lstStyle>
            <a:lvl1pPr marL="0" indent="0">
              <a:buNone/>
              <a:defRPr/>
            </a:lvl1pPr>
          </a:lstStyle>
          <a:p>
            <a:pPr lvl="0"/>
            <a:r>
              <a:rPr lang="en-US" noProof="0" dirty="0"/>
              <a:t> </a:t>
            </a:r>
          </a:p>
        </p:txBody>
      </p:sp>
    </p:spTree>
    <p:extLst>
      <p:ext uri="{BB962C8B-B14F-4D97-AF65-F5344CB8AC3E}">
        <p14:creationId xmlns:p14="http://schemas.microsoft.com/office/powerpoint/2010/main" val="3559501238"/>
      </p:ext>
    </p:extLst>
  </p:cSld>
  <p:clrMapOvr>
    <a:masterClrMapping/>
  </p:clrMapOvr>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 Energy">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9167B6C5-134D-4DFA-B63D-39DDFAC223F0}"/>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b="-357"/>
          <a:stretch/>
        </p:blipFill>
        <p:spPr bwMode="gray">
          <a:xfrm>
            <a:off x="0" y="0"/>
            <a:ext cx="12196800" cy="5940000"/>
          </a:xfrm>
          <a:prstGeom prst="rect">
            <a:avLst/>
          </a:prstGeom>
        </p:spPr>
      </p:pic>
      <p:graphicFrame>
        <p:nvGraphicFramePr>
          <p:cNvPr id="2" name="Object 1" hidden="1"/>
          <p:cNvGraphicFramePr>
            <a:graphicFrameLocks noChangeAspect="1"/>
          </p:cNvGraphicFramePr>
          <p:nvPr>
            <p:custDataLst>
              <p:tags r:id="rId2"/>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9218" name="think-cell Folie" r:id="rId5" imgW="6350000" imgH="6350000" progId="TCLayout.ActiveDocument.1">
                  <p:embed/>
                </p:oleObj>
              </mc:Choice>
              <mc:Fallback>
                <p:oleObj name="think-cell Folie" r:id="rId5" imgW="6350000" imgH="6350000" progId="TCLayout.ActiveDocument.1">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extplatzhalter 37"/>
          <p:cNvSpPr>
            <a:spLocks noGrp="1"/>
          </p:cNvSpPr>
          <p:nvPr>
            <p:ph type="body" sz="quarter" idx="14" hasCustomPrompt="1"/>
          </p:nvPr>
        </p:nvSpPr>
        <p:spPr bwMode="gray">
          <a:xfrm>
            <a:off x="481013" y="2854051"/>
            <a:ext cx="7345362" cy="1439839"/>
          </a:xfrm>
          <a:prstGeom prst="rect">
            <a:avLst/>
          </a:prstGeom>
        </p:spPr>
        <p:txBody>
          <a:bodyPr vert="horz"/>
          <a:lstStyle>
            <a:lvl1pPr marL="0" indent="0">
              <a:lnSpc>
                <a:spcPct val="100000"/>
              </a:lnSpc>
              <a:buFontTx/>
              <a:buNone/>
              <a:defRPr sz="4000" b="1" i="0" baseline="0">
                <a:solidFill>
                  <a:schemeClr val="bg2"/>
                </a:solidFill>
                <a:effectLst/>
                <a:latin typeface="+mj-lt"/>
              </a:defRPr>
            </a:lvl1pPr>
          </a:lstStyle>
          <a:p>
            <a:pPr lvl="0"/>
            <a:r>
              <a:rPr lang="en-US" noProof="0" dirty="0"/>
              <a:t>Energy</a:t>
            </a:r>
          </a:p>
        </p:txBody>
      </p:sp>
      <p:sp>
        <p:nvSpPr>
          <p:cNvPr id="5" name="Date Placeholder 4"/>
          <p:cNvSpPr>
            <a:spLocks noGrp="1"/>
          </p:cNvSpPr>
          <p:nvPr>
            <p:ph type="dt" sz="half" idx="15"/>
          </p:nvPr>
        </p:nvSpPr>
        <p:spPr bwMode="gray"/>
        <p:txBody>
          <a:bodyPr/>
          <a:lstStyle/>
          <a:p>
            <a:fld id="{EE8696E3-DA5E-4580-AF0A-48D8C7C4FFB6}" type="datetime1">
              <a:rPr lang="en-US" altLang="zh-CN" noProof="0" smtClean="0"/>
              <a:t>11/19/2023</a:t>
            </a:fld>
            <a:endParaRPr lang="en-US" noProof="0" dirty="0"/>
          </a:p>
        </p:txBody>
      </p:sp>
      <p:sp>
        <p:nvSpPr>
          <p:cNvPr id="6" name="Footer Placeholder 5"/>
          <p:cNvSpPr>
            <a:spLocks noGrp="1"/>
          </p:cNvSpPr>
          <p:nvPr>
            <p:ph type="ftr" sz="quarter" idx="16"/>
          </p:nvPr>
        </p:nvSpPr>
        <p:spPr bwMode="gray"/>
        <p:txBody>
          <a:bodyPr/>
          <a:lstStyle/>
          <a:p>
            <a:r>
              <a:rPr lang="en-US" noProof="0"/>
              <a:t>ANFA NW Conference 2023</a:t>
            </a:r>
            <a:endParaRPr lang="en-US" noProof="0" dirty="0"/>
          </a:p>
        </p:txBody>
      </p:sp>
      <p:sp>
        <p:nvSpPr>
          <p:cNvPr id="7" name="Slide Number Placeholder 6"/>
          <p:cNvSpPr>
            <a:spLocks noGrp="1"/>
          </p:cNvSpPr>
          <p:nvPr>
            <p:ph type="sldNum" sz="quarter" idx="17"/>
          </p:nvPr>
        </p:nvSpPr>
        <p:spPr bwMode="gray"/>
        <p:txBody>
          <a:bodyPr/>
          <a:lstStyle/>
          <a:p>
            <a:r>
              <a:rPr lang="en-US" noProof="0" dirty="0"/>
              <a:t>Page </a:t>
            </a:r>
            <a:fld id="{CDF7CB8E-0C0F-4AA4-8EC3-057F9A13ED4A}" type="slidenum">
              <a:rPr lang="en-US" noProof="0" smtClean="0"/>
              <a:pPr/>
              <a:t>‹#›</a:t>
            </a:fld>
            <a:endParaRPr lang="en-US" noProof="0" dirty="0"/>
          </a:p>
        </p:txBody>
      </p:sp>
      <p:sp>
        <p:nvSpPr>
          <p:cNvPr id="10" name="Textplatzhalter 9">
            <a:extLst>
              <a:ext uri="{FF2B5EF4-FFF2-40B4-BE49-F238E27FC236}">
                <a16:creationId xmlns:a16="http://schemas.microsoft.com/office/drawing/2014/main" id="{91493DF2-D232-43F5-D365-27D7C64C8522}"/>
              </a:ext>
            </a:extLst>
          </p:cNvPr>
          <p:cNvSpPr>
            <a:spLocks noGrp="1"/>
          </p:cNvSpPr>
          <p:nvPr>
            <p:ph type="body" sz="quarter" idx="19" hasCustomPrompt="1"/>
          </p:nvPr>
        </p:nvSpPr>
        <p:spPr bwMode="gray">
          <a:xfrm>
            <a:off x="0" y="4330662"/>
            <a:ext cx="12195176" cy="1765339"/>
          </a:xfrm>
          <a:custGeom>
            <a:avLst/>
            <a:gdLst>
              <a:gd name="connsiteX0" fmla="*/ 12195176 w 12195176"/>
              <a:gd name="connsiteY0" fmla="*/ 0 h 1765339"/>
              <a:gd name="connsiteX1" fmla="*/ 12195176 w 12195176"/>
              <a:gd name="connsiteY1" fmla="*/ 1765339 h 1765339"/>
              <a:gd name="connsiteX2" fmla="*/ 0 w 12195176"/>
              <a:gd name="connsiteY2" fmla="*/ 1765339 h 1765339"/>
              <a:gd name="connsiteX3" fmla="*/ 0 w 12195176"/>
              <a:gd name="connsiteY3" fmla="*/ 1616456 h 1765339"/>
              <a:gd name="connsiteX4" fmla="*/ 0 w 12195176"/>
              <a:gd name="connsiteY4" fmla="*/ 899138 h 1765339"/>
              <a:gd name="connsiteX5" fmla="*/ 11744467 w 12195176"/>
              <a:gd name="connsiteY5" fmla="*/ 218109 h 176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5176" h="1765339">
                <a:moveTo>
                  <a:pt x="12195176" y="0"/>
                </a:moveTo>
                <a:lnTo>
                  <a:pt x="12195176" y="1765339"/>
                </a:lnTo>
                <a:lnTo>
                  <a:pt x="0" y="1765339"/>
                </a:lnTo>
                <a:lnTo>
                  <a:pt x="0" y="1616456"/>
                </a:lnTo>
                <a:lnTo>
                  <a:pt x="0" y="899138"/>
                </a:lnTo>
                <a:cubicBezTo>
                  <a:pt x="133556" y="928666"/>
                  <a:pt x="6999265" y="2362663"/>
                  <a:pt x="11744467" y="218109"/>
                </a:cubicBezTo>
                <a:close/>
              </a:path>
            </a:pathLst>
          </a:custGeom>
          <a:solidFill>
            <a:schemeClr val="bg1"/>
          </a:solidFill>
        </p:spPr>
        <p:txBody>
          <a:bodyPr wrap="square">
            <a:noAutofit/>
          </a:bodyPr>
          <a:lstStyle>
            <a:lvl1pPr marL="0" indent="0">
              <a:buNone/>
              <a:defRPr/>
            </a:lvl1pPr>
          </a:lstStyle>
          <a:p>
            <a:pPr lvl="0"/>
            <a:r>
              <a:rPr lang="en-US" noProof="0" dirty="0"/>
              <a:t> </a:t>
            </a:r>
          </a:p>
        </p:txBody>
      </p:sp>
    </p:spTree>
    <p:extLst>
      <p:ext uri="{BB962C8B-B14F-4D97-AF65-F5344CB8AC3E}">
        <p14:creationId xmlns:p14="http://schemas.microsoft.com/office/powerpoint/2010/main" val="607815189"/>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4.xml"/><Relationship Id="rId38" Type="http://schemas.openxmlformats.org/officeDocument/2006/relationships/image" Target="../media/image4.sv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3.xml"/><Relationship Id="rId37"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vmlDrawing" Target="../drawings/vmlDrawing1.v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1"/>
            </p:custDataLs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1026" name="think-cell Folie" r:id="rId34" imgW="6350000" imgH="6350000" progId="TCLayout.ActiveDocument.1">
                  <p:embed/>
                </p:oleObj>
              </mc:Choice>
              <mc:Fallback>
                <p:oleObj name="think-cell Folie" r:id="rId34" imgW="6350000" imgH="6350000" progId="TCLayout.ActiveDocument.1">
                  <p:embed/>
                  <p:pic>
                    <p:nvPicPr>
                      <p:cNvPr id="4" name="Object 3" hidden="1"/>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2120" y="1590"/>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Slide Number Placeholder 10"/>
          <p:cNvSpPr>
            <a:spLocks noGrp="1"/>
          </p:cNvSpPr>
          <p:nvPr>
            <p:ph type="sldNum" sz="quarter" idx="4"/>
          </p:nvPr>
        </p:nvSpPr>
        <p:spPr bwMode="gray">
          <a:xfrm>
            <a:off x="480963" y="6518922"/>
            <a:ext cx="630931" cy="123139"/>
          </a:xfrm>
          <a:prstGeom prst="rect">
            <a:avLst/>
          </a:prstGeom>
        </p:spPr>
        <p:txBody>
          <a:bodyPr vert="horz" wrap="square" lIns="0" tIns="0" rIns="0" bIns="0" rtlCol="0" anchor="t" anchorCtr="0">
            <a:noAutofit/>
          </a:bodyPr>
          <a:lstStyle>
            <a:lvl1pPr>
              <a:defRPr kumimoji="0" lang="en-GB" sz="800" b="0" i="0" u="none" strike="noStrike" cap="none" spc="0" normalizeH="0" baseline="0" smtClean="0">
                <a:ln>
                  <a:noFill/>
                </a:ln>
                <a:solidFill>
                  <a:prstClr val="black"/>
                </a:solidFill>
                <a:effectLst/>
                <a:uLnTx/>
                <a:uFillTx/>
                <a:latin typeface=""/>
              </a:defRPr>
            </a:lvl1pPr>
          </a:lstStyle>
          <a:p>
            <a:r>
              <a:rPr lang="en-US" noProof="0" dirty="0"/>
              <a:t>Page </a:t>
            </a:r>
            <a:fld id="{CDF7CB8E-0C0F-4AA4-8EC3-057F9A13ED4A}" type="slidenum">
              <a:rPr lang="en-US" noProof="0" smtClean="0"/>
              <a:pPr/>
              <a:t>‹#›</a:t>
            </a:fld>
            <a:endParaRPr lang="en-US" noProof="0" dirty="0"/>
          </a:p>
        </p:txBody>
      </p:sp>
      <p:sp>
        <p:nvSpPr>
          <p:cNvPr id="5" name="Date Placeholder 4"/>
          <p:cNvSpPr>
            <a:spLocks noGrp="1"/>
          </p:cNvSpPr>
          <p:nvPr>
            <p:ph type="dt" sz="half" idx="2"/>
          </p:nvPr>
        </p:nvSpPr>
        <p:spPr bwMode="gray">
          <a:xfrm>
            <a:off x="1118927" y="6518930"/>
            <a:ext cx="552487" cy="123139"/>
          </a:xfrm>
          <a:prstGeom prst="rect">
            <a:avLst/>
          </a:prstGeom>
          <a:noFill/>
        </p:spPr>
        <p:txBody>
          <a:bodyPr vert="horz" wrap="square" lIns="0" tIns="0" rIns="0" bIns="0" anchor="t" anchorCtr="0">
            <a:noAutofit/>
          </a:bodyPr>
          <a:lstStyle>
            <a:lvl1pPr algn="l">
              <a:defRPr lang="en-GB" sz="800" smtClean="0">
                <a:solidFill>
                  <a:schemeClr val="tx1"/>
                </a:solidFill>
                <a:latin typeface="Arial" charset="0"/>
                <a:cs typeface="Arial" charset="0"/>
              </a:defRPr>
            </a:lvl1pPr>
          </a:lstStyle>
          <a:p>
            <a:fld id="{72858E08-2DD6-42E5-98C1-AA2F32A7EFA2}" type="datetime1">
              <a:rPr lang="en-US" altLang="zh-CN" noProof="0" smtClean="0"/>
              <a:t>11/19/2023</a:t>
            </a:fld>
            <a:endParaRPr lang="en-US" noProof="0" dirty="0"/>
          </a:p>
        </p:txBody>
      </p:sp>
      <p:sp>
        <p:nvSpPr>
          <p:cNvPr id="7" name="Footer Placeholder 10"/>
          <p:cNvSpPr>
            <a:spLocks noGrp="1"/>
          </p:cNvSpPr>
          <p:nvPr>
            <p:ph type="ftr" sz="quarter" idx="3"/>
          </p:nvPr>
        </p:nvSpPr>
        <p:spPr bwMode="gray">
          <a:xfrm>
            <a:off x="1858320" y="6518893"/>
            <a:ext cx="3095373" cy="123139"/>
          </a:xfrm>
          <a:prstGeom prst="rect">
            <a:avLst/>
          </a:prstGeom>
          <a:noFill/>
        </p:spPr>
        <p:txBody>
          <a:bodyPr vert="horz" wrap="square" lIns="0" tIns="0" rIns="0" bIns="0" anchor="t" anchorCtr="0">
            <a:noAutofit/>
          </a:bodyPr>
          <a:lstStyle>
            <a:lvl1pPr algn="l">
              <a:defRPr lang="de-DE" sz="800" smtClean="0">
                <a:solidFill>
                  <a:schemeClr val="tx1"/>
                </a:solidFill>
                <a:latin typeface="Arial" charset="0"/>
                <a:cs typeface="Arial" charset="0"/>
              </a:defRPr>
            </a:lvl1pPr>
          </a:lstStyle>
          <a:p>
            <a:r>
              <a:rPr lang="en-US" noProof="0"/>
              <a:t>ANFA NW Conference 2023</a:t>
            </a:r>
            <a:endParaRPr lang="en-US" noProof="0" dirty="0"/>
          </a:p>
        </p:txBody>
      </p:sp>
      <p:grpSp>
        <p:nvGrpSpPr>
          <p:cNvPr id="8" name="Gruppieren 7">
            <a:extLst>
              <a:ext uri="{FF2B5EF4-FFF2-40B4-BE49-F238E27FC236}">
                <a16:creationId xmlns:a16="http://schemas.microsoft.com/office/drawing/2014/main" id="{BBEEE586-174D-4B7A-B494-41966257E8F2}"/>
              </a:ext>
            </a:extLst>
          </p:cNvPr>
          <p:cNvGrpSpPr/>
          <p:nvPr userDrawn="1"/>
        </p:nvGrpSpPr>
        <p:grpSpPr bwMode="gray">
          <a:xfrm>
            <a:off x="480963" y="-170598"/>
            <a:ext cx="11233248" cy="72000"/>
            <a:chOff x="480963" y="-170598"/>
            <a:chExt cx="11233248" cy="72000"/>
          </a:xfrm>
        </p:grpSpPr>
        <p:cxnSp>
          <p:nvCxnSpPr>
            <p:cNvPr id="12" name="Gerade Verbindung 11"/>
            <p:cNvCxnSpPr/>
            <p:nvPr/>
          </p:nvCxnSpPr>
          <p:spPr bwMode="gray">
            <a:xfrm>
              <a:off x="480963"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bwMode="gray">
            <a:xfrm>
              <a:off x="2929235"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bwMode="gray">
            <a:xfrm>
              <a:off x="3433291"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bwMode="gray">
            <a:xfrm>
              <a:off x="3937347"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7" name="Gerade Verbindung 16"/>
            <p:cNvCxnSpPr/>
            <p:nvPr/>
          </p:nvCxnSpPr>
          <p:spPr bwMode="gray">
            <a:xfrm>
              <a:off x="4368998"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8" name="Gerade Verbindung 17"/>
            <p:cNvCxnSpPr/>
            <p:nvPr/>
          </p:nvCxnSpPr>
          <p:spPr bwMode="gray">
            <a:xfrm>
              <a:off x="5881563"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bwMode="gray">
            <a:xfrm>
              <a:off x="6313611"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bwMode="gray">
            <a:xfrm>
              <a:off x="7825779"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bwMode="gray">
            <a:xfrm>
              <a:off x="8257827"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bwMode="gray">
            <a:xfrm>
              <a:off x="8761883"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3" name="Gerade Verbindung 22"/>
            <p:cNvCxnSpPr/>
            <p:nvPr/>
          </p:nvCxnSpPr>
          <p:spPr bwMode="gray">
            <a:xfrm>
              <a:off x="9265939"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bwMode="gray">
            <a:xfrm>
              <a:off x="11714211" y="-170598"/>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grpSp>
      <p:sp>
        <p:nvSpPr>
          <p:cNvPr id="39" name="Titelplatzhalter 38"/>
          <p:cNvSpPr>
            <a:spLocks noGrp="1"/>
          </p:cNvSpPr>
          <p:nvPr>
            <p:ph type="title"/>
          </p:nvPr>
        </p:nvSpPr>
        <p:spPr bwMode="gray">
          <a:xfrm>
            <a:off x="481013" y="297446"/>
            <a:ext cx="11233149" cy="576000"/>
          </a:xfrm>
          <a:prstGeom prst="rect">
            <a:avLst/>
          </a:prstGeom>
        </p:spPr>
        <p:txBody>
          <a:bodyPr vert="horz" lIns="0" tIns="0" rIns="0" bIns="0" rtlCol="0" anchor="t" anchorCtr="0">
            <a:noAutofit/>
          </a:bodyPr>
          <a:lstStyle/>
          <a:p>
            <a:r>
              <a:rPr lang="en-US" noProof="0" dirty="0"/>
              <a:t>Headline in maximum 2 lines, </a:t>
            </a:r>
            <a:br>
              <a:rPr lang="en-US" noProof="0" dirty="0"/>
            </a:br>
            <a:r>
              <a:rPr lang="en-US" noProof="0" dirty="0"/>
              <a:t>Arial bold 24pt, blue gradient, line spacing 0.9</a:t>
            </a:r>
          </a:p>
        </p:txBody>
      </p:sp>
      <p:sp>
        <p:nvSpPr>
          <p:cNvPr id="2" name="Textplatzhalter 1"/>
          <p:cNvSpPr>
            <a:spLocks noGrp="1"/>
          </p:cNvSpPr>
          <p:nvPr>
            <p:ph type="body" idx="1"/>
            <p:custDataLst>
              <p:tags r:id="rId32"/>
            </p:custDataLst>
          </p:nvPr>
        </p:nvSpPr>
        <p:spPr bwMode="gray">
          <a:xfrm>
            <a:off x="481013" y="1341562"/>
            <a:ext cx="11233149" cy="4752000"/>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cxnSp>
        <p:nvCxnSpPr>
          <p:cNvPr id="25" name="Gerade Verbindung 24"/>
          <p:cNvCxnSpPr/>
          <p:nvPr/>
        </p:nvCxnSpPr>
        <p:spPr bwMode="gray">
          <a:xfrm rot="5400000">
            <a:off x="-131109" y="1377570"/>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bwMode="gray">
          <a:xfrm rot="5400000">
            <a:off x="-131109" y="6058090"/>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27" name="Grafik 26"/>
          <p:cNvPicPr>
            <a:picLocks noChangeAspect="1"/>
          </p:cNvPicPr>
          <p:nvPr userDrawn="1"/>
        </p:nvPicPr>
        <p:blipFill rotWithShape="1">
          <a:blip r:embed="rId36" cstate="screen">
            <a:extLst>
              <a:ext uri="{28A0092B-C50C-407E-A947-70E740481C1C}">
                <a14:useLocalDpi xmlns:a14="http://schemas.microsoft.com/office/drawing/2010/main"/>
              </a:ext>
            </a:extLst>
          </a:blip>
          <a:srcRect l="3382" t="32309" b="30391"/>
          <a:stretch/>
        </p:blipFill>
        <p:spPr bwMode="gray">
          <a:xfrm>
            <a:off x="480963" y="6310114"/>
            <a:ext cx="4358477" cy="165990"/>
          </a:xfrm>
          <a:prstGeom prst="rect">
            <a:avLst/>
          </a:prstGeom>
        </p:spPr>
      </p:pic>
      <p:sp>
        <p:nvSpPr>
          <p:cNvPr id="3" name="VCT_Marker_ID_3" hidden="1"/>
          <p:cNvSpPr/>
          <p:nvPr userDrawn="1">
            <p:custDataLst>
              <p:tags r:id="rId33"/>
            </p:custDataLst>
          </p:nvPr>
        </p:nvSpPr>
        <p:spPr bwMode="gray">
          <a:xfrm>
            <a:off x="1270000" y="127000"/>
            <a:ext cx="127000" cy="127000"/>
          </a:xfrm>
          <a:prstGeom prst="rect">
            <a:avLst/>
          </a:prstGeom>
          <a:noFill/>
          <a:ln w="6350"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grpSp>
        <p:nvGrpSpPr>
          <p:cNvPr id="28" name="Gruppieren 27">
            <a:extLst>
              <a:ext uri="{FF2B5EF4-FFF2-40B4-BE49-F238E27FC236}">
                <a16:creationId xmlns:a16="http://schemas.microsoft.com/office/drawing/2014/main" id="{5CADBAF4-E236-4B7F-8E37-CA68A8771242}"/>
              </a:ext>
            </a:extLst>
          </p:cNvPr>
          <p:cNvGrpSpPr/>
          <p:nvPr userDrawn="1"/>
        </p:nvGrpSpPr>
        <p:grpSpPr bwMode="gray">
          <a:xfrm>
            <a:off x="-167109" y="3537806"/>
            <a:ext cx="72000" cy="432048"/>
            <a:chOff x="-167109" y="3537806"/>
            <a:chExt cx="72000" cy="432048"/>
          </a:xfrm>
        </p:grpSpPr>
        <p:cxnSp>
          <p:nvCxnSpPr>
            <p:cNvPr id="29" name="Gerade Verbindung 24">
              <a:extLst>
                <a:ext uri="{FF2B5EF4-FFF2-40B4-BE49-F238E27FC236}">
                  <a16:creationId xmlns:a16="http://schemas.microsoft.com/office/drawing/2014/main" id="{2C6A76BF-EA4C-44B2-8F15-AFD12ED698BB}"/>
                </a:ext>
              </a:extLst>
            </p:cNvPr>
            <p:cNvCxnSpPr/>
            <p:nvPr userDrawn="1"/>
          </p:nvCxnSpPr>
          <p:spPr bwMode="gray">
            <a:xfrm rot="5400000">
              <a:off x="-131109" y="3501806"/>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0" name="Gerade Verbindung 25">
              <a:extLst>
                <a:ext uri="{FF2B5EF4-FFF2-40B4-BE49-F238E27FC236}">
                  <a16:creationId xmlns:a16="http://schemas.microsoft.com/office/drawing/2014/main" id="{FF43417C-748E-4F6E-81E1-000F1035CE19}"/>
                </a:ext>
              </a:extLst>
            </p:cNvPr>
            <p:cNvCxnSpPr/>
            <p:nvPr userDrawn="1"/>
          </p:nvCxnSpPr>
          <p:spPr bwMode="gray">
            <a:xfrm rot="5400000">
              <a:off x="-131109" y="3933854"/>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31" name="Gerade Verbindung 25">
              <a:extLst>
                <a:ext uri="{FF2B5EF4-FFF2-40B4-BE49-F238E27FC236}">
                  <a16:creationId xmlns:a16="http://schemas.microsoft.com/office/drawing/2014/main" id="{8BBDF460-06D3-4A79-80F0-513314ABAF78}"/>
                </a:ext>
              </a:extLst>
            </p:cNvPr>
            <p:cNvCxnSpPr/>
            <p:nvPr userDrawn="1"/>
          </p:nvCxnSpPr>
          <p:spPr bwMode="gray">
            <a:xfrm rot="5400000">
              <a:off x="-131109" y="3717830"/>
              <a:ext cx="0" cy="72000"/>
            </a:xfrm>
            <a:prstGeom prst="line">
              <a:avLst/>
            </a:prstGeom>
            <a:ln w="6350">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32" name="Grafik 31">
            <a:extLst>
              <a:ext uri="{FF2B5EF4-FFF2-40B4-BE49-F238E27FC236}">
                <a16:creationId xmlns:a16="http://schemas.microsoft.com/office/drawing/2014/main" id="{C1DC424B-5875-4DC4-B8C6-327E8407718C}"/>
              </a:ext>
            </a:extLst>
          </p:cNvPr>
          <p:cNvPicPr>
            <a:picLocks noChangeAspect="1"/>
          </p:cNvPicPr>
          <p:nvPr userDrawn="1"/>
        </p:nvPicPr>
        <p:blipFill>
          <a:blip r:embed="rId37">
            <a:extLst>
              <a:ext uri="{96DAC541-7B7A-43D3-8B79-37D633B846F1}">
                <asvg:svgBlip xmlns:asvg="http://schemas.microsoft.com/office/drawing/2016/SVG/main" r:embed="rId38"/>
              </a:ext>
            </a:extLst>
          </a:blip>
          <a:stretch>
            <a:fillRect/>
          </a:stretch>
        </p:blipFill>
        <p:spPr bwMode="gray">
          <a:xfrm>
            <a:off x="9661983" y="6274110"/>
            <a:ext cx="2052000" cy="360000"/>
          </a:xfrm>
          <a:prstGeom prst="rect">
            <a:avLst/>
          </a:prstGeom>
        </p:spPr>
      </p:pic>
      <p:sp>
        <p:nvSpPr>
          <p:cNvPr id="6" name="MSIPCMContentMarking" descr="{&quot;HashCode&quot;:2082820457,&quot;Placement&quot;:&quot;Footer&quot;,&quot;Top&quot;:522.9875,&quot;Left&quot;:457.451416,&quot;SlideWidth&quot;:960,&quot;SlideHeight&quot;:540}">
            <a:extLst>
              <a:ext uri="{FF2B5EF4-FFF2-40B4-BE49-F238E27FC236}">
                <a16:creationId xmlns:a16="http://schemas.microsoft.com/office/drawing/2014/main" id="{E373167A-B25F-416F-B857-F09C20904D31}"/>
              </a:ext>
            </a:extLst>
          </p:cNvPr>
          <p:cNvSpPr txBox="1"/>
          <p:nvPr userDrawn="1"/>
        </p:nvSpPr>
        <p:spPr bwMode="gray">
          <a:xfrm>
            <a:off x="5183187" y="6561678"/>
            <a:ext cx="1828800" cy="297909"/>
          </a:xfrm>
          <a:prstGeom prst="rect">
            <a:avLst/>
          </a:prstGeom>
          <a:noFill/>
        </p:spPr>
        <p:txBody>
          <a:bodyPr vert="horz" wrap="square" lIns="0" tIns="0" rIns="0" bIns="0" anchor="ctr" anchorCtr="1">
            <a:noAutofit/>
          </a:bodyPr>
          <a:lstStyle>
            <a:defPPr>
              <a:defRPr lang="de-DE"/>
            </a:defPPr>
            <a:lvl1pPr>
              <a:defRPr sz="800">
                <a:latin typeface="Arial" charset="0"/>
                <a:cs typeface="Arial" charset="0"/>
              </a:defRPr>
            </a:lvl1pPr>
          </a:lstStyle>
          <a:p>
            <a:r>
              <a:rPr lang="en-US" altLang="zh-CN" b="1" dirty="0"/>
              <a:t>ANFA NW Conference 2023</a:t>
            </a:r>
            <a:endParaRPr lang="en-US" altLang="zh-CN" dirty="0"/>
          </a:p>
        </p:txBody>
      </p:sp>
    </p:spTree>
    <p:extLst>
      <p:ext uri="{BB962C8B-B14F-4D97-AF65-F5344CB8AC3E}">
        <p14:creationId xmlns:p14="http://schemas.microsoft.com/office/powerpoint/2010/main" val="3206426455"/>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 id="2147483881" r:id="rId26"/>
    <p:sldLayoutId id="2147483882" r:id="rId27"/>
    <p:sldLayoutId id="2147483905" r:id="rId28"/>
  </p:sldLayoutIdLst>
  <p:hf hdr="0" ftr="0" dt="0"/>
  <p:txStyles>
    <p:titleStyle>
      <a:lvl1pPr marL="0" indent="0" algn="l" defTabSz="1219444" rtl="0" eaLnBrk="1" latinLnBrk="0" hangingPunct="1">
        <a:lnSpc>
          <a:spcPct val="90000"/>
        </a:lnSpc>
        <a:spcBef>
          <a:spcPct val="0"/>
        </a:spcBef>
        <a:buNone/>
        <a:defRPr sz="2400" b="1" kern="1200" cap="all" baseline="0">
          <a:gradFill flip="none" rotWithShape="1">
            <a:gsLst>
              <a:gs pos="0">
                <a:schemeClr val="accent2"/>
              </a:gs>
              <a:gs pos="100000">
                <a:schemeClr val="accent1"/>
              </a:gs>
            </a:gsLst>
            <a:lin ang="0" scaled="1"/>
            <a:tileRect/>
          </a:gradFill>
          <a:latin typeface="Arial" panose="020B0604020202020204" pitchFamily="34" charset="0"/>
          <a:ea typeface="+mj-ea"/>
          <a:cs typeface="Arial" panose="020B0604020202020204" pitchFamily="34" charset="0"/>
        </a:defRPr>
      </a:lvl1pPr>
    </p:titleStyle>
    <p:bodyStyle>
      <a:lvl1pPr marL="0" indent="0" algn="l" defTabSz="1219444" rtl="0" eaLnBrk="1" latinLnBrk="0" hangingPunct="1">
        <a:lnSpc>
          <a:spcPct val="120000"/>
        </a:lnSpc>
        <a:spcBef>
          <a:spcPts val="600"/>
        </a:spcBef>
        <a:buClr>
          <a:schemeClr val="accent1"/>
        </a:buClr>
        <a:buSzPct val="100000"/>
        <a:buFont typeface="Wingdings 2" panose="05020102010507070707" pitchFamily="18" charset="2"/>
        <a:buNone/>
        <a:defRPr sz="1600" b="1" kern="1200">
          <a:solidFill>
            <a:schemeClr val="accent2"/>
          </a:solidFill>
          <a:latin typeface="+mn-lt"/>
          <a:ea typeface="+mn-ea"/>
          <a:cs typeface="Arial" panose="020B0604020202020204" pitchFamily="34" charset="0"/>
        </a:defRPr>
      </a:lvl1pPr>
      <a:lvl2pPr marL="0" indent="0" algn="l" defTabSz="1219444" rtl="0" eaLnBrk="1" latinLnBrk="0" hangingPunct="1">
        <a:lnSpc>
          <a:spcPct val="120000"/>
        </a:lnSpc>
        <a:spcBef>
          <a:spcPts val="600"/>
        </a:spcBef>
        <a:buClr>
          <a:schemeClr val="accent1"/>
        </a:buClr>
        <a:buFont typeface="Arial" panose="020B0604020202020204" pitchFamily="34" charset="0"/>
        <a:buNone/>
        <a:defRPr sz="1400" kern="1200">
          <a:solidFill>
            <a:srgbClr val="000000"/>
          </a:solidFill>
          <a:latin typeface="+mn-lt"/>
          <a:ea typeface="+mn-ea"/>
          <a:cs typeface="Arial" panose="020B0604020202020204" pitchFamily="34" charset="0"/>
        </a:defRPr>
      </a:lvl2pPr>
      <a:lvl3pPr marL="216000" indent="-216000" algn="l" defTabSz="1219444" rtl="0" eaLnBrk="1" latinLnBrk="0" hangingPunct="1">
        <a:lnSpc>
          <a:spcPct val="120000"/>
        </a:lnSpc>
        <a:spcBef>
          <a:spcPts val="600"/>
        </a:spcBef>
        <a:buClr>
          <a:schemeClr val="accent1"/>
        </a:buClr>
        <a:buSzPct val="100000"/>
        <a:buFont typeface="Wingdings 2" panose="05020102010507070707" pitchFamily="18" charset="2"/>
        <a:buChar char=""/>
        <a:tabLst/>
        <a:defRPr sz="1400" kern="1200">
          <a:solidFill>
            <a:srgbClr val="000000"/>
          </a:solidFill>
          <a:latin typeface="+mn-lt"/>
          <a:ea typeface="+mn-ea"/>
          <a:cs typeface="Arial" panose="020B0604020202020204" pitchFamily="34" charset="0"/>
        </a:defRPr>
      </a:lvl3pPr>
      <a:lvl4pPr marL="432000" indent="-216000" algn="l" defTabSz="1219444" rtl="0" eaLnBrk="1" latinLnBrk="0" hangingPunct="1">
        <a:lnSpc>
          <a:spcPct val="120000"/>
        </a:lnSpc>
        <a:spcBef>
          <a:spcPts val="600"/>
        </a:spcBef>
        <a:buClr>
          <a:schemeClr val="accent1"/>
        </a:buClr>
        <a:buFont typeface="Arial" panose="020B0604020202020204" pitchFamily="34" charset="0"/>
        <a:buChar char="–"/>
        <a:defRPr sz="1400" kern="1200">
          <a:solidFill>
            <a:srgbClr val="000000"/>
          </a:solidFill>
          <a:latin typeface="+mn-lt"/>
          <a:ea typeface="+mn-ea"/>
          <a:cs typeface="Arial" panose="020B0604020202020204" pitchFamily="34" charset="0"/>
        </a:defRPr>
      </a:lvl4pPr>
      <a:lvl5pPr marL="648000" indent="-216000" algn="l" defTabSz="1219444" rtl="0" eaLnBrk="1" latinLnBrk="0" hangingPunct="1">
        <a:lnSpc>
          <a:spcPct val="120000"/>
        </a:lnSpc>
        <a:spcBef>
          <a:spcPts val="600"/>
        </a:spcBef>
        <a:buClr>
          <a:schemeClr val="accent1"/>
        </a:buClr>
        <a:buFont typeface="Wingdings 2" panose="05020102010507070707" pitchFamily="18" charset="2"/>
        <a:buChar char=""/>
        <a:defRPr sz="1400" kern="1200">
          <a:solidFill>
            <a:srgbClr val="000000"/>
          </a:solidFill>
          <a:latin typeface="+mn-lt"/>
          <a:ea typeface="+mn-ea"/>
          <a:cs typeface="Arial" panose="020B0604020202020204" pitchFamily="34" charset="0"/>
        </a:defRPr>
      </a:lvl5pPr>
      <a:lvl6pPr marL="864000" indent="-216000" algn="l" defTabSz="1219444" rtl="0" eaLnBrk="1" latinLnBrk="0" hangingPunct="1">
        <a:lnSpc>
          <a:spcPct val="120000"/>
        </a:lnSpc>
        <a:spcBef>
          <a:spcPts val="600"/>
        </a:spcBef>
        <a:buClr>
          <a:schemeClr val="accent1"/>
        </a:buClr>
        <a:buFont typeface="Wingdings 2" panose="05020102010507070707" pitchFamily="18" charset="2"/>
        <a:buChar char=""/>
        <a:defRPr sz="1400" kern="1200">
          <a:solidFill>
            <a:schemeClr val="tx1"/>
          </a:solidFill>
          <a:latin typeface="+mn-lt"/>
          <a:ea typeface="+mn-ea"/>
          <a:cs typeface="+mn-cs"/>
        </a:defRPr>
      </a:lvl6pPr>
      <a:lvl7pPr marL="864000" indent="-216000" algn="l" defTabSz="1219444" rtl="0" eaLnBrk="1" latinLnBrk="0" hangingPunct="1">
        <a:lnSpc>
          <a:spcPct val="120000"/>
        </a:lnSpc>
        <a:spcBef>
          <a:spcPts val="600"/>
        </a:spcBef>
        <a:buClr>
          <a:schemeClr val="accent1"/>
        </a:buClr>
        <a:buFont typeface="Wingdings 2" panose="05020102010507070707" pitchFamily="18" charset="2"/>
        <a:buChar char=""/>
        <a:defRPr sz="1400" kern="1200">
          <a:solidFill>
            <a:schemeClr val="tx1"/>
          </a:solidFill>
          <a:latin typeface="+mn-lt"/>
          <a:ea typeface="+mn-ea"/>
          <a:cs typeface="+mn-cs"/>
        </a:defRPr>
      </a:lvl7pPr>
      <a:lvl8pPr marL="864000" indent="-216000" algn="l" defTabSz="1219444" rtl="0" eaLnBrk="1" latinLnBrk="0" hangingPunct="1">
        <a:lnSpc>
          <a:spcPct val="120000"/>
        </a:lnSpc>
        <a:spcBef>
          <a:spcPts val="600"/>
        </a:spcBef>
        <a:buClr>
          <a:schemeClr val="accent1"/>
        </a:buClr>
        <a:buFont typeface="Wingdings 2" panose="05020102010507070707" pitchFamily="18" charset="2"/>
        <a:buChar char=""/>
        <a:defRPr sz="1400" kern="1200">
          <a:solidFill>
            <a:schemeClr val="tx1"/>
          </a:solidFill>
          <a:latin typeface="+mn-lt"/>
          <a:ea typeface="+mn-ea"/>
          <a:cs typeface="+mn-cs"/>
        </a:defRPr>
      </a:lvl8pPr>
      <a:lvl9pPr marL="864000" indent="-216000" algn="l" defTabSz="1219444" rtl="0" eaLnBrk="1" latinLnBrk="0" hangingPunct="1">
        <a:lnSpc>
          <a:spcPct val="120000"/>
        </a:lnSpc>
        <a:spcBef>
          <a:spcPts val="600"/>
        </a:spcBef>
        <a:buClr>
          <a:schemeClr val="accent1"/>
        </a:buClr>
        <a:buFont typeface="Wingdings 2" panose="05020102010507070707" pitchFamily="18" charset="2"/>
        <a:buChar char=""/>
        <a:defRPr sz="1400" kern="1200">
          <a:solidFill>
            <a:schemeClr val="tx1"/>
          </a:solidFill>
          <a:latin typeface="+mn-lt"/>
          <a:ea typeface="+mn-ea"/>
          <a:cs typeface="+mn-cs"/>
        </a:defRPr>
      </a:lvl9pPr>
    </p:bodyStyle>
    <p:otherStyle>
      <a:defPPr>
        <a:defRPr lang="de-DE"/>
      </a:defPPr>
      <a:lvl1pPr marL="0" algn="l" defTabSz="1219444" rtl="0" eaLnBrk="1" latinLnBrk="0" hangingPunct="1">
        <a:defRPr sz="2400" kern="1200">
          <a:solidFill>
            <a:schemeClr val="tx1"/>
          </a:solidFill>
          <a:latin typeface="+mn-lt"/>
          <a:ea typeface="+mn-ea"/>
          <a:cs typeface="+mn-cs"/>
        </a:defRPr>
      </a:lvl1pPr>
      <a:lvl2pPr marL="609722" algn="l" defTabSz="1219444" rtl="0" eaLnBrk="1" latinLnBrk="0" hangingPunct="1">
        <a:defRPr sz="2400" kern="1200">
          <a:solidFill>
            <a:schemeClr val="tx1"/>
          </a:solidFill>
          <a:latin typeface="+mn-lt"/>
          <a:ea typeface="+mn-ea"/>
          <a:cs typeface="+mn-cs"/>
        </a:defRPr>
      </a:lvl2pPr>
      <a:lvl3pPr marL="1219444" algn="l" defTabSz="1219444" rtl="0" eaLnBrk="1" latinLnBrk="0" hangingPunct="1">
        <a:defRPr sz="2400" kern="1200">
          <a:solidFill>
            <a:schemeClr val="tx1"/>
          </a:solidFill>
          <a:latin typeface="+mn-lt"/>
          <a:ea typeface="+mn-ea"/>
          <a:cs typeface="+mn-cs"/>
        </a:defRPr>
      </a:lvl3pPr>
      <a:lvl4pPr marL="1829166" algn="l" defTabSz="1219444" rtl="0" eaLnBrk="1" latinLnBrk="0" hangingPunct="1">
        <a:defRPr sz="2400" kern="1200">
          <a:solidFill>
            <a:schemeClr val="tx1"/>
          </a:solidFill>
          <a:latin typeface="+mn-lt"/>
          <a:ea typeface="+mn-ea"/>
          <a:cs typeface="+mn-cs"/>
        </a:defRPr>
      </a:lvl4pPr>
      <a:lvl5pPr marL="2438888" algn="l" defTabSz="1219444" rtl="0" eaLnBrk="1" latinLnBrk="0" hangingPunct="1">
        <a:defRPr sz="2400" kern="1200">
          <a:solidFill>
            <a:schemeClr val="tx1"/>
          </a:solidFill>
          <a:latin typeface="+mn-lt"/>
          <a:ea typeface="+mn-ea"/>
          <a:cs typeface="+mn-cs"/>
        </a:defRPr>
      </a:lvl5pPr>
      <a:lvl6pPr marL="3048610" algn="l" defTabSz="1219444" rtl="0" eaLnBrk="1" latinLnBrk="0" hangingPunct="1">
        <a:defRPr sz="2400" kern="1200">
          <a:solidFill>
            <a:schemeClr val="tx1"/>
          </a:solidFill>
          <a:latin typeface="+mn-lt"/>
          <a:ea typeface="+mn-ea"/>
          <a:cs typeface="+mn-cs"/>
        </a:defRPr>
      </a:lvl6pPr>
      <a:lvl7pPr marL="3658332" algn="l" defTabSz="1219444" rtl="0" eaLnBrk="1" latinLnBrk="0" hangingPunct="1">
        <a:defRPr sz="2400" kern="1200">
          <a:solidFill>
            <a:schemeClr val="tx1"/>
          </a:solidFill>
          <a:latin typeface="+mn-lt"/>
          <a:ea typeface="+mn-ea"/>
          <a:cs typeface="+mn-cs"/>
        </a:defRPr>
      </a:lvl7pPr>
      <a:lvl8pPr marL="4268053" algn="l" defTabSz="1219444" rtl="0" eaLnBrk="1" latinLnBrk="0" hangingPunct="1">
        <a:defRPr sz="2400" kern="1200">
          <a:solidFill>
            <a:schemeClr val="tx1"/>
          </a:solidFill>
          <a:latin typeface="+mn-lt"/>
          <a:ea typeface="+mn-ea"/>
          <a:cs typeface="+mn-cs"/>
        </a:defRPr>
      </a:lvl8pPr>
      <a:lvl9pPr marL="4877775" algn="l" defTabSz="1219444" rtl="0" eaLnBrk="1" latinLnBrk="0" hangingPunct="1">
        <a:defRPr sz="2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890">
          <p15:clr>
            <a:srgbClr val="F26B43"/>
          </p15:clr>
        </p15:guide>
        <p15:guide id="2" pos="7379">
          <p15:clr>
            <a:srgbClr val="F26B43"/>
          </p15:clr>
        </p15:guide>
        <p15:guide id="3" orient="horz" pos="550">
          <p15:clr>
            <a:srgbClr val="F26B43"/>
          </p15:clr>
        </p15:guide>
        <p15:guide id="4" pos="303">
          <p15:clr>
            <a:srgbClr val="F26B43"/>
          </p15:clr>
        </p15:guide>
        <p15:guide id="5" orient="horz" pos="3839">
          <p15:clr>
            <a:srgbClr val="F26B43"/>
          </p15:clr>
        </p15:guide>
        <p15:guide id="6" orient="horz" pos="187">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notesSlide" Target="../notesSlides/notesSlide1.xml"/><Relationship Id="rId3" Type="http://schemas.openxmlformats.org/officeDocument/2006/relationships/tags" Target="../tags/tag30.xml"/><Relationship Id="rId7" Type="http://schemas.openxmlformats.org/officeDocument/2006/relationships/slideLayout" Target="../slideLayouts/slideLayout1.xml"/><Relationship Id="rId2" Type="http://schemas.openxmlformats.org/officeDocument/2006/relationships/tags" Target="../tags/tag29.xml"/><Relationship Id="rId1" Type="http://schemas.openxmlformats.org/officeDocument/2006/relationships/vmlDrawing" Target="../drawings/vmlDrawing25.vml"/><Relationship Id="rId6" Type="http://schemas.openxmlformats.org/officeDocument/2006/relationships/tags" Target="../tags/tag33.xml"/><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1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26" Type="http://schemas.openxmlformats.org/officeDocument/2006/relationships/image" Target="../media/image29.png"/><Relationship Id="rId3" Type="http://schemas.openxmlformats.org/officeDocument/2006/relationships/tags" Target="../tags/tag36.xml"/><Relationship Id="rId21" Type="http://schemas.openxmlformats.org/officeDocument/2006/relationships/image" Target="../media/image24.png"/><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image" Target="../media/image28.png"/><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image" Target="../media/image23.png"/><Relationship Id="rId29" Type="http://schemas.openxmlformats.org/officeDocument/2006/relationships/image" Target="../media/image32.png"/><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image" Target="../media/image27.png"/><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image" Target="../media/image26.png"/><Relationship Id="rId28" Type="http://schemas.openxmlformats.org/officeDocument/2006/relationships/image" Target="../media/image31.png"/><Relationship Id="rId10" Type="http://schemas.openxmlformats.org/officeDocument/2006/relationships/tags" Target="../tags/tag43.xml"/><Relationship Id="rId19" Type="http://schemas.openxmlformats.org/officeDocument/2006/relationships/slideLayout" Target="../slideLayouts/slideLayout19.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image" Target="../media/image25.png"/><Relationship Id="rId27" Type="http://schemas.openxmlformats.org/officeDocument/2006/relationships/image" Target="../media/image30.png"/></Relationships>
</file>

<file path=ppt/slides/_rels/slide4.xml.rels><?xml version="1.0" encoding="UTF-8" standalone="yes"?>
<Relationships xmlns="http://schemas.openxmlformats.org/package/2006/relationships"><Relationship Id="rId26" Type="http://schemas.openxmlformats.org/officeDocument/2006/relationships/tags" Target="../tags/tag77.xml"/><Relationship Id="rId117" Type="http://schemas.openxmlformats.org/officeDocument/2006/relationships/tags" Target="../tags/tag168.xml"/><Relationship Id="rId21" Type="http://schemas.openxmlformats.org/officeDocument/2006/relationships/tags" Target="../tags/tag72.xml"/><Relationship Id="rId42" Type="http://schemas.openxmlformats.org/officeDocument/2006/relationships/tags" Target="../tags/tag93.xml"/><Relationship Id="rId47" Type="http://schemas.openxmlformats.org/officeDocument/2006/relationships/tags" Target="../tags/tag98.xml"/><Relationship Id="rId63" Type="http://schemas.openxmlformats.org/officeDocument/2006/relationships/tags" Target="../tags/tag114.xml"/><Relationship Id="rId68" Type="http://schemas.openxmlformats.org/officeDocument/2006/relationships/tags" Target="../tags/tag119.xml"/><Relationship Id="rId84" Type="http://schemas.openxmlformats.org/officeDocument/2006/relationships/tags" Target="../tags/tag135.xml"/><Relationship Id="rId89" Type="http://schemas.openxmlformats.org/officeDocument/2006/relationships/tags" Target="../tags/tag140.xml"/><Relationship Id="rId112" Type="http://schemas.openxmlformats.org/officeDocument/2006/relationships/tags" Target="../tags/tag163.xml"/><Relationship Id="rId133" Type="http://schemas.openxmlformats.org/officeDocument/2006/relationships/tags" Target="../tags/tag184.xml"/><Relationship Id="rId138" Type="http://schemas.openxmlformats.org/officeDocument/2006/relationships/tags" Target="../tags/tag189.xml"/><Relationship Id="rId154" Type="http://schemas.openxmlformats.org/officeDocument/2006/relationships/tags" Target="../tags/tag205.xml"/><Relationship Id="rId159" Type="http://schemas.openxmlformats.org/officeDocument/2006/relationships/tags" Target="../tags/tag210.xml"/><Relationship Id="rId16" Type="http://schemas.openxmlformats.org/officeDocument/2006/relationships/tags" Target="../tags/tag67.xml"/><Relationship Id="rId107" Type="http://schemas.openxmlformats.org/officeDocument/2006/relationships/tags" Target="../tags/tag158.xml"/><Relationship Id="rId11" Type="http://schemas.openxmlformats.org/officeDocument/2006/relationships/tags" Target="../tags/tag62.xml"/><Relationship Id="rId32" Type="http://schemas.openxmlformats.org/officeDocument/2006/relationships/tags" Target="../tags/tag83.xml"/><Relationship Id="rId37" Type="http://schemas.openxmlformats.org/officeDocument/2006/relationships/tags" Target="../tags/tag88.xml"/><Relationship Id="rId53" Type="http://schemas.openxmlformats.org/officeDocument/2006/relationships/tags" Target="../tags/tag104.xml"/><Relationship Id="rId58" Type="http://schemas.openxmlformats.org/officeDocument/2006/relationships/tags" Target="../tags/tag109.xml"/><Relationship Id="rId74" Type="http://schemas.openxmlformats.org/officeDocument/2006/relationships/tags" Target="../tags/tag125.xml"/><Relationship Id="rId79" Type="http://schemas.openxmlformats.org/officeDocument/2006/relationships/tags" Target="../tags/tag130.xml"/><Relationship Id="rId102" Type="http://schemas.openxmlformats.org/officeDocument/2006/relationships/tags" Target="../tags/tag153.xml"/><Relationship Id="rId123" Type="http://schemas.openxmlformats.org/officeDocument/2006/relationships/tags" Target="../tags/tag174.xml"/><Relationship Id="rId128" Type="http://schemas.openxmlformats.org/officeDocument/2006/relationships/tags" Target="../tags/tag179.xml"/><Relationship Id="rId144" Type="http://schemas.openxmlformats.org/officeDocument/2006/relationships/tags" Target="../tags/tag195.xml"/><Relationship Id="rId149" Type="http://schemas.openxmlformats.org/officeDocument/2006/relationships/tags" Target="../tags/tag200.xml"/><Relationship Id="rId5" Type="http://schemas.openxmlformats.org/officeDocument/2006/relationships/tags" Target="../tags/tag56.xml"/><Relationship Id="rId90" Type="http://schemas.openxmlformats.org/officeDocument/2006/relationships/tags" Target="../tags/tag141.xml"/><Relationship Id="rId95" Type="http://schemas.openxmlformats.org/officeDocument/2006/relationships/tags" Target="../tags/tag146.xml"/><Relationship Id="rId160" Type="http://schemas.openxmlformats.org/officeDocument/2006/relationships/tags" Target="../tags/tag211.xml"/><Relationship Id="rId165" Type="http://schemas.openxmlformats.org/officeDocument/2006/relationships/tags" Target="../tags/tag216.xml"/><Relationship Id="rId22" Type="http://schemas.openxmlformats.org/officeDocument/2006/relationships/tags" Target="../tags/tag73.xml"/><Relationship Id="rId27" Type="http://schemas.openxmlformats.org/officeDocument/2006/relationships/tags" Target="../tags/tag78.xml"/><Relationship Id="rId43" Type="http://schemas.openxmlformats.org/officeDocument/2006/relationships/tags" Target="../tags/tag94.xml"/><Relationship Id="rId48" Type="http://schemas.openxmlformats.org/officeDocument/2006/relationships/tags" Target="../tags/tag99.xml"/><Relationship Id="rId64" Type="http://schemas.openxmlformats.org/officeDocument/2006/relationships/tags" Target="../tags/tag115.xml"/><Relationship Id="rId69" Type="http://schemas.openxmlformats.org/officeDocument/2006/relationships/tags" Target="../tags/tag120.xml"/><Relationship Id="rId113" Type="http://schemas.openxmlformats.org/officeDocument/2006/relationships/tags" Target="../tags/tag164.xml"/><Relationship Id="rId118" Type="http://schemas.openxmlformats.org/officeDocument/2006/relationships/tags" Target="../tags/tag169.xml"/><Relationship Id="rId134" Type="http://schemas.openxmlformats.org/officeDocument/2006/relationships/tags" Target="../tags/tag185.xml"/><Relationship Id="rId139" Type="http://schemas.openxmlformats.org/officeDocument/2006/relationships/tags" Target="../tags/tag190.xml"/><Relationship Id="rId80" Type="http://schemas.openxmlformats.org/officeDocument/2006/relationships/tags" Target="../tags/tag131.xml"/><Relationship Id="rId85" Type="http://schemas.openxmlformats.org/officeDocument/2006/relationships/tags" Target="../tags/tag136.xml"/><Relationship Id="rId150" Type="http://schemas.openxmlformats.org/officeDocument/2006/relationships/tags" Target="../tags/tag201.xml"/><Relationship Id="rId155" Type="http://schemas.openxmlformats.org/officeDocument/2006/relationships/tags" Target="../tags/tag206.xml"/><Relationship Id="rId12" Type="http://schemas.openxmlformats.org/officeDocument/2006/relationships/tags" Target="../tags/tag63.xml"/><Relationship Id="rId17" Type="http://schemas.openxmlformats.org/officeDocument/2006/relationships/tags" Target="../tags/tag68.xml"/><Relationship Id="rId33" Type="http://schemas.openxmlformats.org/officeDocument/2006/relationships/tags" Target="../tags/tag84.xml"/><Relationship Id="rId38" Type="http://schemas.openxmlformats.org/officeDocument/2006/relationships/tags" Target="../tags/tag89.xml"/><Relationship Id="rId59" Type="http://schemas.openxmlformats.org/officeDocument/2006/relationships/tags" Target="../tags/tag110.xml"/><Relationship Id="rId103" Type="http://schemas.openxmlformats.org/officeDocument/2006/relationships/tags" Target="../tags/tag154.xml"/><Relationship Id="rId108" Type="http://schemas.openxmlformats.org/officeDocument/2006/relationships/tags" Target="../tags/tag159.xml"/><Relationship Id="rId124" Type="http://schemas.openxmlformats.org/officeDocument/2006/relationships/tags" Target="../tags/tag175.xml"/><Relationship Id="rId129" Type="http://schemas.openxmlformats.org/officeDocument/2006/relationships/tags" Target="../tags/tag180.xml"/><Relationship Id="rId54" Type="http://schemas.openxmlformats.org/officeDocument/2006/relationships/tags" Target="../tags/tag105.xml"/><Relationship Id="rId70" Type="http://schemas.openxmlformats.org/officeDocument/2006/relationships/tags" Target="../tags/tag121.xml"/><Relationship Id="rId75" Type="http://schemas.openxmlformats.org/officeDocument/2006/relationships/tags" Target="../tags/tag126.xml"/><Relationship Id="rId91" Type="http://schemas.openxmlformats.org/officeDocument/2006/relationships/tags" Target="../tags/tag142.xml"/><Relationship Id="rId96" Type="http://schemas.openxmlformats.org/officeDocument/2006/relationships/tags" Target="../tags/tag147.xml"/><Relationship Id="rId140" Type="http://schemas.openxmlformats.org/officeDocument/2006/relationships/tags" Target="../tags/tag191.xml"/><Relationship Id="rId145" Type="http://schemas.openxmlformats.org/officeDocument/2006/relationships/tags" Target="../tags/tag196.xml"/><Relationship Id="rId161" Type="http://schemas.openxmlformats.org/officeDocument/2006/relationships/tags" Target="../tags/tag212.xml"/><Relationship Id="rId166" Type="http://schemas.openxmlformats.org/officeDocument/2006/relationships/tags" Target="../tags/tag217.xml"/><Relationship Id="rId1" Type="http://schemas.openxmlformats.org/officeDocument/2006/relationships/tags" Target="../tags/tag52.xml"/><Relationship Id="rId6" Type="http://schemas.openxmlformats.org/officeDocument/2006/relationships/tags" Target="../tags/tag57.xml"/><Relationship Id="rId15" Type="http://schemas.openxmlformats.org/officeDocument/2006/relationships/tags" Target="../tags/tag66.xml"/><Relationship Id="rId23" Type="http://schemas.openxmlformats.org/officeDocument/2006/relationships/tags" Target="../tags/tag74.xml"/><Relationship Id="rId28" Type="http://schemas.openxmlformats.org/officeDocument/2006/relationships/tags" Target="../tags/tag79.xml"/><Relationship Id="rId36" Type="http://schemas.openxmlformats.org/officeDocument/2006/relationships/tags" Target="../tags/tag87.xml"/><Relationship Id="rId49" Type="http://schemas.openxmlformats.org/officeDocument/2006/relationships/tags" Target="../tags/tag100.xml"/><Relationship Id="rId57" Type="http://schemas.openxmlformats.org/officeDocument/2006/relationships/tags" Target="../tags/tag108.xml"/><Relationship Id="rId106" Type="http://schemas.openxmlformats.org/officeDocument/2006/relationships/tags" Target="../tags/tag157.xml"/><Relationship Id="rId114" Type="http://schemas.openxmlformats.org/officeDocument/2006/relationships/tags" Target="../tags/tag165.xml"/><Relationship Id="rId119" Type="http://schemas.openxmlformats.org/officeDocument/2006/relationships/tags" Target="../tags/tag170.xml"/><Relationship Id="rId127" Type="http://schemas.openxmlformats.org/officeDocument/2006/relationships/tags" Target="../tags/tag178.xml"/><Relationship Id="rId10" Type="http://schemas.openxmlformats.org/officeDocument/2006/relationships/tags" Target="../tags/tag61.xml"/><Relationship Id="rId31" Type="http://schemas.openxmlformats.org/officeDocument/2006/relationships/tags" Target="../tags/tag82.xml"/><Relationship Id="rId44" Type="http://schemas.openxmlformats.org/officeDocument/2006/relationships/tags" Target="../tags/tag95.xml"/><Relationship Id="rId52" Type="http://schemas.openxmlformats.org/officeDocument/2006/relationships/tags" Target="../tags/tag103.xml"/><Relationship Id="rId60" Type="http://schemas.openxmlformats.org/officeDocument/2006/relationships/tags" Target="../tags/tag111.xml"/><Relationship Id="rId65" Type="http://schemas.openxmlformats.org/officeDocument/2006/relationships/tags" Target="../tags/tag116.xml"/><Relationship Id="rId73" Type="http://schemas.openxmlformats.org/officeDocument/2006/relationships/tags" Target="../tags/tag124.xml"/><Relationship Id="rId78" Type="http://schemas.openxmlformats.org/officeDocument/2006/relationships/tags" Target="../tags/tag129.xml"/><Relationship Id="rId81" Type="http://schemas.openxmlformats.org/officeDocument/2006/relationships/tags" Target="../tags/tag132.xml"/><Relationship Id="rId86" Type="http://schemas.openxmlformats.org/officeDocument/2006/relationships/tags" Target="../tags/tag137.xml"/><Relationship Id="rId94" Type="http://schemas.openxmlformats.org/officeDocument/2006/relationships/tags" Target="../tags/tag145.xml"/><Relationship Id="rId99" Type="http://schemas.openxmlformats.org/officeDocument/2006/relationships/tags" Target="../tags/tag150.xml"/><Relationship Id="rId101" Type="http://schemas.openxmlformats.org/officeDocument/2006/relationships/tags" Target="../tags/tag152.xml"/><Relationship Id="rId122" Type="http://schemas.openxmlformats.org/officeDocument/2006/relationships/tags" Target="../tags/tag173.xml"/><Relationship Id="rId130" Type="http://schemas.openxmlformats.org/officeDocument/2006/relationships/tags" Target="../tags/tag181.xml"/><Relationship Id="rId135" Type="http://schemas.openxmlformats.org/officeDocument/2006/relationships/tags" Target="../tags/tag186.xml"/><Relationship Id="rId143" Type="http://schemas.openxmlformats.org/officeDocument/2006/relationships/tags" Target="../tags/tag194.xml"/><Relationship Id="rId148" Type="http://schemas.openxmlformats.org/officeDocument/2006/relationships/tags" Target="../tags/tag199.xml"/><Relationship Id="rId151" Type="http://schemas.openxmlformats.org/officeDocument/2006/relationships/tags" Target="../tags/tag202.xml"/><Relationship Id="rId156" Type="http://schemas.openxmlformats.org/officeDocument/2006/relationships/tags" Target="../tags/tag207.xml"/><Relationship Id="rId164" Type="http://schemas.openxmlformats.org/officeDocument/2006/relationships/tags" Target="../tags/tag215.xml"/><Relationship Id="rId169" Type="http://schemas.openxmlformats.org/officeDocument/2006/relationships/slideLayout" Target="../slideLayouts/slideLayout19.xml"/><Relationship Id="rId4" Type="http://schemas.openxmlformats.org/officeDocument/2006/relationships/tags" Target="../tags/tag55.xml"/><Relationship Id="rId9" Type="http://schemas.openxmlformats.org/officeDocument/2006/relationships/tags" Target="../tags/tag60.xml"/><Relationship Id="rId13" Type="http://schemas.openxmlformats.org/officeDocument/2006/relationships/tags" Target="../tags/tag64.xml"/><Relationship Id="rId18" Type="http://schemas.openxmlformats.org/officeDocument/2006/relationships/tags" Target="../tags/tag69.xml"/><Relationship Id="rId39" Type="http://schemas.openxmlformats.org/officeDocument/2006/relationships/tags" Target="../tags/tag90.xml"/><Relationship Id="rId109" Type="http://schemas.openxmlformats.org/officeDocument/2006/relationships/tags" Target="../tags/tag160.xml"/><Relationship Id="rId34" Type="http://schemas.openxmlformats.org/officeDocument/2006/relationships/tags" Target="../tags/tag85.xml"/><Relationship Id="rId50" Type="http://schemas.openxmlformats.org/officeDocument/2006/relationships/tags" Target="../tags/tag101.xml"/><Relationship Id="rId55" Type="http://schemas.openxmlformats.org/officeDocument/2006/relationships/tags" Target="../tags/tag106.xml"/><Relationship Id="rId76" Type="http://schemas.openxmlformats.org/officeDocument/2006/relationships/tags" Target="../tags/tag127.xml"/><Relationship Id="rId97" Type="http://schemas.openxmlformats.org/officeDocument/2006/relationships/tags" Target="../tags/tag148.xml"/><Relationship Id="rId104" Type="http://schemas.openxmlformats.org/officeDocument/2006/relationships/tags" Target="../tags/tag155.xml"/><Relationship Id="rId120" Type="http://schemas.openxmlformats.org/officeDocument/2006/relationships/tags" Target="../tags/tag171.xml"/><Relationship Id="rId125" Type="http://schemas.openxmlformats.org/officeDocument/2006/relationships/tags" Target="../tags/tag176.xml"/><Relationship Id="rId141" Type="http://schemas.openxmlformats.org/officeDocument/2006/relationships/tags" Target="../tags/tag192.xml"/><Relationship Id="rId146" Type="http://schemas.openxmlformats.org/officeDocument/2006/relationships/tags" Target="../tags/tag197.xml"/><Relationship Id="rId167" Type="http://schemas.openxmlformats.org/officeDocument/2006/relationships/tags" Target="../tags/tag218.xml"/><Relationship Id="rId7" Type="http://schemas.openxmlformats.org/officeDocument/2006/relationships/tags" Target="../tags/tag58.xml"/><Relationship Id="rId71" Type="http://schemas.openxmlformats.org/officeDocument/2006/relationships/tags" Target="../tags/tag122.xml"/><Relationship Id="rId92" Type="http://schemas.openxmlformats.org/officeDocument/2006/relationships/tags" Target="../tags/tag143.xml"/><Relationship Id="rId162" Type="http://schemas.openxmlformats.org/officeDocument/2006/relationships/tags" Target="../tags/tag213.xml"/><Relationship Id="rId2" Type="http://schemas.openxmlformats.org/officeDocument/2006/relationships/tags" Target="../tags/tag53.xml"/><Relationship Id="rId29" Type="http://schemas.openxmlformats.org/officeDocument/2006/relationships/tags" Target="../tags/tag80.xml"/><Relationship Id="rId24" Type="http://schemas.openxmlformats.org/officeDocument/2006/relationships/tags" Target="../tags/tag75.xml"/><Relationship Id="rId40" Type="http://schemas.openxmlformats.org/officeDocument/2006/relationships/tags" Target="../tags/tag91.xml"/><Relationship Id="rId45" Type="http://schemas.openxmlformats.org/officeDocument/2006/relationships/tags" Target="../tags/tag96.xml"/><Relationship Id="rId66" Type="http://schemas.openxmlformats.org/officeDocument/2006/relationships/tags" Target="../tags/tag117.xml"/><Relationship Id="rId87" Type="http://schemas.openxmlformats.org/officeDocument/2006/relationships/tags" Target="../tags/tag138.xml"/><Relationship Id="rId110" Type="http://schemas.openxmlformats.org/officeDocument/2006/relationships/tags" Target="../tags/tag161.xml"/><Relationship Id="rId115" Type="http://schemas.openxmlformats.org/officeDocument/2006/relationships/tags" Target="../tags/tag166.xml"/><Relationship Id="rId131" Type="http://schemas.openxmlformats.org/officeDocument/2006/relationships/tags" Target="../tags/tag182.xml"/><Relationship Id="rId136" Type="http://schemas.openxmlformats.org/officeDocument/2006/relationships/tags" Target="../tags/tag187.xml"/><Relationship Id="rId157" Type="http://schemas.openxmlformats.org/officeDocument/2006/relationships/tags" Target="../tags/tag208.xml"/><Relationship Id="rId61" Type="http://schemas.openxmlformats.org/officeDocument/2006/relationships/tags" Target="../tags/tag112.xml"/><Relationship Id="rId82" Type="http://schemas.openxmlformats.org/officeDocument/2006/relationships/tags" Target="../tags/tag133.xml"/><Relationship Id="rId152" Type="http://schemas.openxmlformats.org/officeDocument/2006/relationships/tags" Target="../tags/tag203.xml"/><Relationship Id="rId19" Type="http://schemas.openxmlformats.org/officeDocument/2006/relationships/tags" Target="../tags/tag70.xml"/><Relationship Id="rId14" Type="http://schemas.openxmlformats.org/officeDocument/2006/relationships/tags" Target="../tags/tag65.xml"/><Relationship Id="rId30" Type="http://schemas.openxmlformats.org/officeDocument/2006/relationships/tags" Target="../tags/tag81.xml"/><Relationship Id="rId35" Type="http://schemas.openxmlformats.org/officeDocument/2006/relationships/tags" Target="../tags/tag86.xml"/><Relationship Id="rId56" Type="http://schemas.openxmlformats.org/officeDocument/2006/relationships/tags" Target="../tags/tag107.xml"/><Relationship Id="rId77" Type="http://schemas.openxmlformats.org/officeDocument/2006/relationships/tags" Target="../tags/tag128.xml"/><Relationship Id="rId100" Type="http://schemas.openxmlformats.org/officeDocument/2006/relationships/tags" Target="../tags/tag151.xml"/><Relationship Id="rId105" Type="http://schemas.openxmlformats.org/officeDocument/2006/relationships/tags" Target="../tags/tag156.xml"/><Relationship Id="rId126" Type="http://schemas.openxmlformats.org/officeDocument/2006/relationships/tags" Target="../tags/tag177.xml"/><Relationship Id="rId147" Type="http://schemas.openxmlformats.org/officeDocument/2006/relationships/tags" Target="../tags/tag198.xml"/><Relationship Id="rId168" Type="http://schemas.openxmlformats.org/officeDocument/2006/relationships/tags" Target="../tags/tag219.xml"/><Relationship Id="rId8" Type="http://schemas.openxmlformats.org/officeDocument/2006/relationships/tags" Target="../tags/tag59.xml"/><Relationship Id="rId51" Type="http://schemas.openxmlformats.org/officeDocument/2006/relationships/tags" Target="../tags/tag102.xml"/><Relationship Id="rId72" Type="http://schemas.openxmlformats.org/officeDocument/2006/relationships/tags" Target="../tags/tag123.xml"/><Relationship Id="rId93" Type="http://schemas.openxmlformats.org/officeDocument/2006/relationships/tags" Target="../tags/tag144.xml"/><Relationship Id="rId98" Type="http://schemas.openxmlformats.org/officeDocument/2006/relationships/tags" Target="../tags/tag149.xml"/><Relationship Id="rId121" Type="http://schemas.openxmlformats.org/officeDocument/2006/relationships/tags" Target="../tags/tag172.xml"/><Relationship Id="rId142" Type="http://schemas.openxmlformats.org/officeDocument/2006/relationships/tags" Target="../tags/tag193.xml"/><Relationship Id="rId163" Type="http://schemas.openxmlformats.org/officeDocument/2006/relationships/tags" Target="../tags/tag214.xml"/><Relationship Id="rId3" Type="http://schemas.openxmlformats.org/officeDocument/2006/relationships/tags" Target="../tags/tag54.xml"/><Relationship Id="rId25" Type="http://schemas.openxmlformats.org/officeDocument/2006/relationships/tags" Target="../tags/tag76.xml"/><Relationship Id="rId46" Type="http://schemas.openxmlformats.org/officeDocument/2006/relationships/tags" Target="../tags/tag97.xml"/><Relationship Id="rId67" Type="http://schemas.openxmlformats.org/officeDocument/2006/relationships/tags" Target="../tags/tag118.xml"/><Relationship Id="rId116" Type="http://schemas.openxmlformats.org/officeDocument/2006/relationships/tags" Target="../tags/tag167.xml"/><Relationship Id="rId137" Type="http://schemas.openxmlformats.org/officeDocument/2006/relationships/tags" Target="../tags/tag188.xml"/><Relationship Id="rId158" Type="http://schemas.openxmlformats.org/officeDocument/2006/relationships/tags" Target="../tags/tag209.xml"/><Relationship Id="rId20" Type="http://schemas.openxmlformats.org/officeDocument/2006/relationships/tags" Target="../tags/tag71.xml"/><Relationship Id="rId41" Type="http://schemas.openxmlformats.org/officeDocument/2006/relationships/tags" Target="../tags/tag92.xml"/><Relationship Id="rId62" Type="http://schemas.openxmlformats.org/officeDocument/2006/relationships/tags" Target="../tags/tag113.xml"/><Relationship Id="rId83" Type="http://schemas.openxmlformats.org/officeDocument/2006/relationships/tags" Target="../tags/tag134.xml"/><Relationship Id="rId88" Type="http://schemas.openxmlformats.org/officeDocument/2006/relationships/tags" Target="../tags/tag139.xml"/><Relationship Id="rId111" Type="http://schemas.openxmlformats.org/officeDocument/2006/relationships/tags" Target="../tags/tag162.xml"/><Relationship Id="rId132" Type="http://schemas.openxmlformats.org/officeDocument/2006/relationships/tags" Target="../tags/tag183.xml"/><Relationship Id="rId153" Type="http://schemas.openxmlformats.org/officeDocument/2006/relationships/tags" Target="../tags/tag204.xml"/></Relationships>
</file>

<file path=ppt/slides/_rels/slide5.xml.rels><?xml version="1.0" encoding="UTF-8" standalone="yes"?>
<Relationships xmlns="http://schemas.openxmlformats.org/package/2006/relationships"><Relationship Id="rId3" Type="http://schemas.openxmlformats.org/officeDocument/2006/relationships/tags" Target="../tags/tag222.xml"/><Relationship Id="rId2" Type="http://schemas.openxmlformats.org/officeDocument/2006/relationships/tags" Target="../tags/tag221.xml"/><Relationship Id="rId1" Type="http://schemas.openxmlformats.org/officeDocument/2006/relationships/tags" Target="../tags/tag220.xml"/><Relationship Id="rId5" Type="http://schemas.openxmlformats.org/officeDocument/2006/relationships/slideLayout" Target="../slideLayouts/slideLayout19.xml"/><Relationship Id="rId4" Type="http://schemas.openxmlformats.org/officeDocument/2006/relationships/tags" Target="../tags/tag2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9.xml"/><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Picture Placeholder 6"/>
          <p:cNvSpPr>
            <a:spLocks noGrp="1"/>
          </p:cNvSpPr>
          <p:nvPr>
            <p:ph type="pic" sz="quarter" idx="15"/>
          </p:nvPr>
        </p:nvSpPr>
        <p:spPr bwMode="gray"/>
      </p:sp>
      <p:sp>
        <p:nvSpPr>
          <p:cNvPr id="9" name="Text Placeholder 8"/>
          <p:cNvSpPr>
            <a:spLocks noGrp="1"/>
          </p:cNvSpPr>
          <p:nvPr>
            <p:ph type="body" sz="quarter" idx="18"/>
            <p:custDataLst>
              <p:tags r:id="rId2"/>
            </p:custDataLst>
          </p:nvPr>
        </p:nvSpPr>
        <p:spPr bwMode="gray"/>
        <p:txBody>
          <a:bodyPr/>
          <a:lstStyle/>
          <a:p>
            <a:endParaRPr lang="en-US" dirty="0">
              <a:latin typeface="Arial" panose="020B0604020202020204" pitchFamily="34" charset="0"/>
            </a:endParaRPr>
          </a:p>
        </p:txBody>
      </p:sp>
      <p:sp>
        <p:nvSpPr>
          <p:cNvPr id="2" name="Title 1"/>
          <p:cNvSpPr>
            <a:spLocks noGrp="1"/>
          </p:cNvSpPr>
          <p:nvPr>
            <p:ph type="ctrTitle"/>
            <p:custDataLst>
              <p:tags r:id="rId3"/>
            </p:custDataLst>
          </p:nvPr>
        </p:nvSpPr>
        <p:spPr/>
        <p:txBody>
          <a:bodyPr/>
          <a:lstStyle/>
          <a:p>
            <a:r>
              <a:rPr lang="en-US" altLang="zh-CN" sz="2000" dirty="0">
                <a:solidFill>
                  <a:schemeClr val="tx1"/>
                </a:solidFill>
              </a:rPr>
              <a:t>Status of the Asian Apparel Industry After The Pandemic</a:t>
            </a:r>
            <a:endParaRPr lang="en-US" sz="2000" dirty="0">
              <a:solidFill>
                <a:schemeClr val="tx1"/>
              </a:solidFill>
            </a:endParaRPr>
          </a:p>
        </p:txBody>
      </p:sp>
      <p:sp>
        <p:nvSpPr>
          <p:cNvPr id="5" name="Subtitle 4"/>
          <p:cNvSpPr>
            <a:spLocks noGrp="1"/>
          </p:cNvSpPr>
          <p:nvPr>
            <p:ph type="subTitle" idx="1"/>
            <p:custDataLst>
              <p:tags r:id="rId4"/>
            </p:custDataLst>
          </p:nvPr>
        </p:nvSpPr>
        <p:spPr/>
        <p:txBody>
          <a:bodyPr/>
          <a:lstStyle/>
          <a:p>
            <a:r>
              <a:rPr lang="en-US" altLang="zh-CN" b="1" dirty="0"/>
              <a:t>ANFA NW Conference 2023</a:t>
            </a:r>
            <a:endParaRPr lang="en-US" altLang="zh-CN" dirty="0"/>
          </a:p>
          <a:p>
            <a:r>
              <a:rPr lang="en-US" altLang="zh-CN" dirty="0"/>
              <a:t>October 30, 2023</a:t>
            </a:r>
          </a:p>
          <a:p>
            <a:r>
              <a:rPr lang="en-US" altLang="zh-CN" dirty="0"/>
              <a:t>Hong Kong</a:t>
            </a:r>
          </a:p>
          <a:p>
            <a:endParaRPr lang="en-US" dirty="0">
              <a:latin typeface="Arial" panose="020B0604020202020204" pitchFamily="34" charset="0"/>
            </a:endParaRPr>
          </a:p>
        </p:txBody>
      </p:sp>
      <p:sp>
        <p:nvSpPr>
          <p:cNvPr id="3" name="Textplatzhalter 2"/>
          <p:cNvSpPr>
            <a:spLocks noGrp="1"/>
          </p:cNvSpPr>
          <p:nvPr>
            <p:ph type="body" sz="quarter" idx="12"/>
            <p:custDataLst>
              <p:tags r:id="rId5"/>
            </p:custDataLst>
          </p:nvPr>
        </p:nvSpPr>
        <p:spPr bwMode="gray"/>
        <p:txBody>
          <a:bodyPr/>
          <a:lstStyle/>
          <a:p>
            <a:r>
              <a:rPr lang="en-US" dirty="0">
                <a:latin typeface="Arial" panose="020B0604020202020204" pitchFamily="34" charset="0"/>
              </a:rPr>
              <a:t>FREUDENBERG</a:t>
            </a:r>
          </a:p>
          <a:p>
            <a:r>
              <a:rPr lang="en-US" dirty="0">
                <a:latin typeface="Arial" panose="020B0604020202020204" pitchFamily="34" charset="0"/>
              </a:rPr>
              <a:t>Performance materials</a:t>
            </a:r>
          </a:p>
        </p:txBody>
      </p:sp>
      <p:graphicFrame>
        <p:nvGraphicFramePr>
          <p:cNvPr id="8" name="Object 7" hidden="1"/>
          <p:cNvGraphicFramePr>
            <a:graphicFrameLocks noChangeAspect="1"/>
          </p:cNvGraphicFramePr>
          <p:nvPr>
            <p:custDataLst>
              <p:tags r:id="rId6"/>
            </p:custDataLst>
            <p:extLst>
              <p:ext uri="{D42A27DB-BD31-4B8C-83A1-F6EECF244321}">
                <p14:modId xmlns:p14="http://schemas.microsoft.com/office/powerpoint/2010/main" val="3316210129"/>
              </p:ext>
            </p:extLst>
          </p:nvPr>
        </p:nvGraphicFramePr>
        <p:xfrm>
          <a:off x="2120" y="1590"/>
          <a:ext cx="2117" cy="1587"/>
        </p:xfrm>
        <a:graphic>
          <a:graphicData uri="http://schemas.openxmlformats.org/presentationml/2006/ole">
            <mc:AlternateContent xmlns:mc="http://schemas.openxmlformats.org/markup-compatibility/2006">
              <mc:Choice xmlns:v="urn:schemas-microsoft-com:vml" Requires="v">
                <p:oleObj spid="_x0000_s25602" name="think-cell Folie" r:id="rId9" imgW="270" imgH="270" progId="TCLayout.ActiveDocument.1">
                  <p:embed/>
                </p:oleObj>
              </mc:Choice>
              <mc:Fallback>
                <p:oleObj name="think-cell Folie" r:id="rId9" imgW="270" imgH="270" progId="TCLayout.ActiveDocument.1">
                  <p:embed/>
                  <p:pic>
                    <p:nvPicPr>
                      <p:cNvPr id="8" name="Object 7" hidden="1"/>
                      <p:cNvPicPr/>
                      <p:nvPr/>
                    </p:nvPicPr>
                    <p:blipFill>
                      <a:blip r:embed="rId10"/>
                      <a:stretch>
                        <a:fillRect/>
                      </a:stretch>
                    </p:blipFill>
                    <p:spPr>
                      <a:xfrm>
                        <a:off x="2120" y="1590"/>
                        <a:ext cx="2117" cy="1587"/>
                      </a:xfrm>
                      <a:prstGeom prst="rect">
                        <a:avLst/>
                      </a:prstGeom>
                    </p:spPr>
                  </p:pic>
                </p:oleObj>
              </mc:Fallback>
            </mc:AlternateContent>
          </a:graphicData>
        </a:graphic>
      </p:graphicFrame>
    </p:spTree>
    <p:extLst>
      <p:ext uri="{BB962C8B-B14F-4D97-AF65-F5344CB8AC3E}">
        <p14:creationId xmlns:p14="http://schemas.microsoft.com/office/powerpoint/2010/main" val="8654256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447A2ED-66CB-4840-B225-582F4102F329}"/>
              </a:ext>
            </a:extLst>
          </p:cNvPr>
          <p:cNvSpPr>
            <a:spLocks noGrp="1"/>
          </p:cNvSpPr>
          <p:nvPr>
            <p:ph type="sldNum" sz="quarter" idx="17"/>
          </p:nvPr>
        </p:nvSpPr>
        <p:spPr/>
        <p:txBody>
          <a:bodyPr/>
          <a:lstStyle/>
          <a:p>
            <a:r>
              <a:rPr lang="en-US"/>
              <a:t>Page </a:t>
            </a:r>
            <a:fld id="{CDF7CB8E-0C0F-4AA4-8EC3-057F9A13ED4A}" type="slidenum">
              <a:rPr lang="en-US" smtClean="0"/>
              <a:pPr/>
              <a:t>10</a:t>
            </a:fld>
            <a:endParaRPr lang="en-US" dirty="0"/>
          </a:p>
        </p:txBody>
      </p:sp>
      <p:sp>
        <p:nvSpPr>
          <p:cNvPr id="5" name="Title 4">
            <a:extLst>
              <a:ext uri="{FF2B5EF4-FFF2-40B4-BE49-F238E27FC236}">
                <a16:creationId xmlns:a16="http://schemas.microsoft.com/office/drawing/2014/main" id="{5F496186-D085-48DC-AF17-8B7BBC139D55}"/>
              </a:ext>
            </a:extLst>
          </p:cNvPr>
          <p:cNvSpPr>
            <a:spLocks noGrp="1"/>
          </p:cNvSpPr>
          <p:nvPr>
            <p:ph type="title"/>
          </p:nvPr>
        </p:nvSpPr>
        <p:spPr/>
        <p:txBody>
          <a:bodyPr/>
          <a:lstStyle/>
          <a:p>
            <a:r>
              <a:rPr lang="en-US" altLang="zh-CN" dirty="0">
                <a:solidFill>
                  <a:srgbClr val="004388"/>
                </a:solidFill>
              </a:rPr>
              <a:t>Thank you!</a:t>
            </a:r>
            <a:endParaRPr lang="zh-CN" altLang="en-US" dirty="0">
              <a:solidFill>
                <a:srgbClr val="004388"/>
              </a:solidFill>
            </a:endParaRPr>
          </a:p>
        </p:txBody>
      </p:sp>
    </p:spTree>
    <p:extLst>
      <p:ext uri="{BB962C8B-B14F-4D97-AF65-F5344CB8AC3E}">
        <p14:creationId xmlns:p14="http://schemas.microsoft.com/office/powerpoint/2010/main" val="14097353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3A32737-B976-44D1-A18B-406E31CBC555}"/>
              </a:ext>
            </a:extLst>
          </p:cNvPr>
          <p:cNvSpPr>
            <a:spLocks noGrp="1"/>
          </p:cNvSpPr>
          <p:nvPr>
            <p:ph type="body" sz="quarter" idx="13"/>
          </p:nvPr>
        </p:nvSpPr>
        <p:spPr>
          <a:xfrm>
            <a:off x="481012" y="1054162"/>
            <a:ext cx="11233150" cy="4751263"/>
          </a:xfrm>
        </p:spPr>
        <p:txBody>
          <a:bodyPr/>
          <a:lstStyle/>
          <a:p>
            <a:pPr>
              <a:lnSpc>
                <a:spcPct val="100000"/>
              </a:lnSpc>
              <a:spcBef>
                <a:spcPts val="0"/>
              </a:spcBef>
              <a:spcAft>
                <a:spcPts val="100"/>
              </a:spcAft>
              <a:tabLst>
                <a:tab pos="1828800" algn="l"/>
              </a:tabLst>
            </a:pPr>
            <a:r>
              <a:rPr lang="en-US" altLang="zh-CN" dirty="0"/>
              <a:t>Since 2020	Senior Vice President and General Manager, Global Apparel Division</a:t>
            </a:r>
          </a:p>
          <a:p>
            <a:pPr marL="0" indent="0">
              <a:lnSpc>
                <a:spcPct val="100000"/>
              </a:lnSpc>
              <a:spcBef>
                <a:spcPts val="0"/>
              </a:spcBef>
              <a:spcAft>
                <a:spcPts val="100"/>
              </a:spcAft>
              <a:buNone/>
              <a:tabLst>
                <a:tab pos="1828800" algn="l"/>
              </a:tabLst>
            </a:pPr>
            <a:r>
              <a:rPr lang="en-US" altLang="zh-CN" i="1" dirty="0"/>
              <a:t>	</a:t>
            </a:r>
            <a:r>
              <a:rPr lang="en-US" altLang="zh-CN" b="1" i="1" dirty="0"/>
              <a:t>Freudenberg Performance Materials (Weinheim, Germany)</a:t>
            </a:r>
          </a:p>
          <a:p>
            <a:pPr>
              <a:lnSpc>
                <a:spcPct val="100000"/>
              </a:lnSpc>
              <a:spcBef>
                <a:spcPts val="0"/>
              </a:spcBef>
              <a:spcAft>
                <a:spcPts val="100"/>
              </a:spcAft>
              <a:tabLst>
                <a:tab pos="1828800" algn="l"/>
              </a:tabLst>
            </a:pPr>
            <a:r>
              <a:rPr lang="en-US" altLang="zh-CN" dirty="0"/>
              <a:t>2015	Managing Director and General Manager, Asia Apparel</a:t>
            </a:r>
          </a:p>
          <a:p>
            <a:pPr marL="0" indent="0">
              <a:lnSpc>
                <a:spcPct val="100000"/>
              </a:lnSpc>
              <a:spcBef>
                <a:spcPts val="0"/>
              </a:spcBef>
              <a:spcAft>
                <a:spcPts val="100"/>
              </a:spcAft>
              <a:buNone/>
              <a:tabLst>
                <a:tab pos="1828800" algn="l"/>
              </a:tabLst>
            </a:pPr>
            <a:r>
              <a:rPr lang="en-US" altLang="zh-CN" i="1" dirty="0"/>
              <a:t>	</a:t>
            </a:r>
            <a:r>
              <a:rPr lang="en-US" altLang="zh-CN" b="1" i="1" dirty="0"/>
              <a:t>Freudenberg &amp; Vilene International Ltd. (Hong Kong)</a:t>
            </a:r>
          </a:p>
          <a:p>
            <a:pPr>
              <a:lnSpc>
                <a:spcPct val="100000"/>
              </a:lnSpc>
              <a:spcBef>
                <a:spcPts val="0"/>
              </a:spcBef>
              <a:spcAft>
                <a:spcPts val="100"/>
              </a:spcAft>
              <a:tabLst>
                <a:tab pos="1828800" algn="l"/>
              </a:tabLst>
            </a:pPr>
            <a:r>
              <a:rPr lang="en-US" altLang="zh-CN" dirty="0"/>
              <a:t>2012	Head of Medical Product Sales </a:t>
            </a:r>
          </a:p>
          <a:p>
            <a:pPr marL="0" indent="0">
              <a:lnSpc>
                <a:spcPct val="100000"/>
              </a:lnSpc>
              <a:spcBef>
                <a:spcPts val="0"/>
              </a:spcBef>
              <a:spcAft>
                <a:spcPts val="100"/>
              </a:spcAft>
              <a:buNone/>
              <a:tabLst>
                <a:tab pos="1828800" algn="l"/>
              </a:tabLst>
            </a:pPr>
            <a:r>
              <a:rPr lang="en-US" altLang="zh-CN" i="1" dirty="0"/>
              <a:t>	</a:t>
            </a:r>
            <a:r>
              <a:rPr lang="en-US" altLang="zh-CN" b="1" i="1" dirty="0"/>
              <a:t>Japan Vilene Company Ltd. (Tokyo)</a:t>
            </a:r>
          </a:p>
          <a:p>
            <a:pPr>
              <a:lnSpc>
                <a:spcPct val="100000"/>
              </a:lnSpc>
              <a:spcBef>
                <a:spcPts val="0"/>
              </a:spcBef>
              <a:spcAft>
                <a:spcPts val="100"/>
              </a:spcAft>
              <a:tabLst>
                <a:tab pos="1828800" algn="l"/>
              </a:tabLst>
            </a:pPr>
            <a:r>
              <a:rPr lang="en-US" altLang="zh-CN" dirty="0"/>
              <a:t>2010	Senior Manager, Corporate Planning Department</a:t>
            </a:r>
          </a:p>
          <a:p>
            <a:pPr marL="0" indent="0">
              <a:lnSpc>
                <a:spcPct val="100000"/>
              </a:lnSpc>
              <a:spcBef>
                <a:spcPts val="0"/>
              </a:spcBef>
              <a:spcAft>
                <a:spcPts val="100"/>
              </a:spcAft>
              <a:buNone/>
              <a:tabLst>
                <a:tab pos="1828800" algn="l"/>
              </a:tabLst>
            </a:pPr>
            <a:r>
              <a:rPr lang="en-US" altLang="zh-CN" i="1" dirty="0"/>
              <a:t>	</a:t>
            </a:r>
            <a:r>
              <a:rPr lang="en-US" altLang="zh-CN" b="1" i="1" dirty="0"/>
              <a:t>Japan Vilene Company Ltd. (Tokyo) </a:t>
            </a:r>
          </a:p>
          <a:p>
            <a:pPr>
              <a:lnSpc>
                <a:spcPct val="100000"/>
              </a:lnSpc>
              <a:spcBef>
                <a:spcPts val="0"/>
              </a:spcBef>
              <a:spcAft>
                <a:spcPts val="100"/>
              </a:spcAft>
              <a:tabLst>
                <a:tab pos="1828800" algn="l"/>
              </a:tabLst>
            </a:pPr>
            <a:r>
              <a:rPr lang="en-US" altLang="zh-CN" dirty="0"/>
              <a:t>2005	Global Lead and Head of International Sales &amp; Customer Relations (ISCR)</a:t>
            </a:r>
          </a:p>
          <a:p>
            <a:pPr marL="0" indent="0">
              <a:lnSpc>
                <a:spcPct val="100000"/>
              </a:lnSpc>
              <a:spcBef>
                <a:spcPts val="0"/>
              </a:spcBef>
              <a:spcAft>
                <a:spcPts val="100"/>
              </a:spcAft>
              <a:buNone/>
              <a:tabLst>
                <a:tab pos="1828800" algn="l"/>
              </a:tabLst>
            </a:pPr>
            <a:r>
              <a:rPr lang="en-US" altLang="zh-CN" i="1" dirty="0"/>
              <a:t>	</a:t>
            </a:r>
            <a:r>
              <a:rPr lang="en-US" altLang="zh-CN" b="1" i="1" dirty="0"/>
              <a:t>Freudenberg &amp; Vilene International Ltd. (Hong Kong)</a:t>
            </a:r>
          </a:p>
          <a:p>
            <a:pPr>
              <a:lnSpc>
                <a:spcPct val="100000"/>
              </a:lnSpc>
              <a:spcBef>
                <a:spcPts val="0"/>
              </a:spcBef>
              <a:spcAft>
                <a:spcPts val="100"/>
              </a:spcAft>
              <a:tabLst>
                <a:tab pos="1828800" algn="l"/>
              </a:tabLst>
            </a:pPr>
            <a:r>
              <a:rPr lang="en-US" altLang="zh-CN" dirty="0"/>
              <a:t>2000	Director of Asia Business Development</a:t>
            </a:r>
          </a:p>
          <a:p>
            <a:pPr marL="0" indent="0">
              <a:lnSpc>
                <a:spcPct val="100000"/>
              </a:lnSpc>
              <a:spcBef>
                <a:spcPts val="0"/>
              </a:spcBef>
              <a:spcAft>
                <a:spcPts val="100"/>
              </a:spcAft>
              <a:buNone/>
              <a:tabLst>
                <a:tab pos="1828800" algn="l"/>
              </a:tabLst>
            </a:pPr>
            <a:r>
              <a:rPr lang="en-US" altLang="zh-CN" i="1" dirty="0"/>
              <a:t>	</a:t>
            </a:r>
            <a:r>
              <a:rPr lang="en-US" altLang="zh-CN" b="1" i="1" dirty="0"/>
              <a:t>Frisby Technologies (North Carolina, USA)</a:t>
            </a:r>
          </a:p>
          <a:p>
            <a:pPr>
              <a:lnSpc>
                <a:spcPct val="100000"/>
              </a:lnSpc>
              <a:spcBef>
                <a:spcPts val="0"/>
              </a:spcBef>
              <a:spcAft>
                <a:spcPts val="100"/>
              </a:spcAft>
              <a:tabLst>
                <a:tab pos="1828800" algn="l"/>
              </a:tabLst>
            </a:pPr>
            <a:r>
              <a:rPr lang="en-US" altLang="zh-CN" dirty="0"/>
              <a:t>1993	International Sales, Chemical Products Division</a:t>
            </a:r>
          </a:p>
          <a:p>
            <a:pPr marL="0" indent="0">
              <a:lnSpc>
                <a:spcPct val="100000"/>
              </a:lnSpc>
              <a:spcBef>
                <a:spcPts val="0"/>
              </a:spcBef>
              <a:spcAft>
                <a:spcPts val="100"/>
              </a:spcAft>
              <a:buNone/>
              <a:tabLst>
                <a:tab pos="1828800" algn="l"/>
              </a:tabLst>
            </a:pPr>
            <a:r>
              <a:rPr lang="en-US" altLang="zh-CN" i="1" dirty="0"/>
              <a:t>	</a:t>
            </a:r>
            <a:r>
              <a:rPr lang="en-US" altLang="zh-CN" b="1" i="1" dirty="0"/>
              <a:t>Bridgestone Corporation (Tokyo)</a:t>
            </a:r>
          </a:p>
          <a:p>
            <a:pPr>
              <a:lnSpc>
                <a:spcPct val="100000"/>
              </a:lnSpc>
              <a:spcBef>
                <a:spcPts val="0"/>
              </a:spcBef>
              <a:spcAft>
                <a:spcPts val="100"/>
              </a:spcAft>
              <a:tabLst>
                <a:tab pos="1828800" algn="l"/>
              </a:tabLst>
            </a:pPr>
            <a:endParaRPr lang="en-US" altLang="zh-CN" dirty="0"/>
          </a:p>
          <a:p>
            <a:pPr>
              <a:lnSpc>
                <a:spcPct val="100000"/>
              </a:lnSpc>
              <a:spcBef>
                <a:spcPts val="0"/>
              </a:spcBef>
              <a:spcAft>
                <a:spcPts val="100"/>
              </a:spcAft>
              <a:tabLst>
                <a:tab pos="1828800" algn="l"/>
              </a:tabLst>
            </a:pPr>
            <a:r>
              <a:rPr lang="en-US" altLang="zh-CN" dirty="0"/>
              <a:t>1992	MA in International Economics and Asian Studies</a:t>
            </a:r>
          </a:p>
          <a:p>
            <a:pPr marL="0" indent="0">
              <a:lnSpc>
                <a:spcPct val="100000"/>
              </a:lnSpc>
              <a:spcBef>
                <a:spcPts val="0"/>
              </a:spcBef>
              <a:spcAft>
                <a:spcPts val="100"/>
              </a:spcAft>
              <a:buNone/>
              <a:tabLst>
                <a:tab pos="1828800" algn="l"/>
              </a:tabLst>
            </a:pPr>
            <a:r>
              <a:rPr lang="en-US" altLang="zh-CN" i="1" dirty="0"/>
              <a:t>	</a:t>
            </a:r>
            <a:r>
              <a:rPr lang="en-US" altLang="zh-CN" b="1" i="1" dirty="0"/>
              <a:t>The Johns Hopkins University School of Advanced International Studies, Washington DC</a:t>
            </a:r>
          </a:p>
          <a:p>
            <a:pPr>
              <a:lnSpc>
                <a:spcPct val="100000"/>
              </a:lnSpc>
              <a:spcBef>
                <a:spcPts val="0"/>
              </a:spcBef>
              <a:spcAft>
                <a:spcPts val="100"/>
              </a:spcAft>
              <a:tabLst>
                <a:tab pos="1828800" algn="l"/>
              </a:tabLst>
            </a:pPr>
            <a:r>
              <a:rPr lang="en-US" altLang="zh-CN" dirty="0"/>
              <a:t>1990	BA in International Relations</a:t>
            </a:r>
          </a:p>
          <a:p>
            <a:pPr marL="0" indent="0">
              <a:lnSpc>
                <a:spcPct val="100000"/>
              </a:lnSpc>
              <a:spcBef>
                <a:spcPts val="0"/>
              </a:spcBef>
              <a:spcAft>
                <a:spcPts val="100"/>
              </a:spcAft>
              <a:buNone/>
              <a:tabLst>
                <a:tab pos="1828800" algn="l"/>
              </a:tabLst>
            </a:pPr>
            <a:r>
              <a:rPr lang="en-US" altLang="zh-CN" dirty="0"/>
              <a:t>	</a:t>
            </a:r>
            <a:r>
              <a:rPr lang="en-US" altLang="zh-CN" b="1" dirty="0"/>
              <a:t>The Johns </a:t>
            </a:r>
            <a:r>
              <a:rPr lang="en-US" altLang="zh-CN" b="1" i="1" dirty="0"/>
              <a:t>Hopkins</a:t>
            </a:r>
            <a:r>
              <a:rPr lang="en-US" altLang="zh-CN" b="1" dirty="0"/>
              <a:t> University, Baltimore USA</a:t>
            </a:r>
            <a:endParaRPr lang="zh-CN" altLang="en-US" b="1" dirty="0"/>
          </a:p>
        </p:txBody>
      </p:sp>
      <p:sp>
        <p:nvSpPr>
          <p:cNvPr id="5" name="Slide Number Placeholder 4">
            <a:extLst>
              <a:ext uri="{FF2B5EF4-FFF2-40B4-BE49-F238E27FC236}">
                <a16:creationId xmlns:a16="http://schemas.microsoft.com/office/drawing/2014/main" id="{EF43FD4F-A563-4506-A677-E08DEA458FF2}"/>
              </a:ext>
            </a:extLst>
          </p:cNvPr>
          <p:cNvSpPr>
            <a:spLocks noGrp="1"/>
          </p:cNvSpPr>
          <p:nvPr>
            <p:ph type="sldNum" sz="quarter" idx="16"/>
          </p:nvPr>
        </p:nvSpPr>
        <p:spPr/>
        <p:txBody>
          <a:bodyPr/>
          <a:lstStyle/>
          <a:p>
            <a:r>
              <a:rPr lang="en-US" noProof="0"/>
              <a:t>Page </a:t>
            </a:r>
            <a:fld id="{CDF7CB8E-0C0F-4AA4-8EC3-057F9A13ED4A}" type="slidenum">
              <a:rPr lang="en-US" noProof="0" smtClean="0"/>
              <a:pPr/>
              <a:t>2</a:t>
            </a:fld>
            <a:endParaRPr lang="en-US" noProof="0" dirty="0"/>
          </a:p>
        </p:txBody>
      </p:sp>
      <p:sp>
        <p:nvSpPr>
          <p:cNvPr id="6" name="Title 5">
            <a:extLst>
              <a:ext uri="{FF2B5EF4-FFF2-40B4-BE49-F238E27FC236}">
                <a16:creationId xmlns:a16="http://schemas.microsoft.com/office/drawing/2014/main" id="{710BC37F-B45A-45A1-81B8-D4F4619EDBD1}"/>
              </a:ext>
            </a:extLst>
          </p:cNvPr>
          <p:cNvSpPr>
            <a:spLocks noGrp="1"/>
          </p:cNvSpPr>
          <p:nvPr>
            <p:ph type="title"/>
          </p:nvPr>
        </p:nvSpPr>
        <p:spPr/>
        <p:txBody>
          <a:bodyPr/>
          <a:lstStyle/>
          <a:p>
            <a:r>
              <a:rPr lang="en-US" altLang="zh-CN" dirty="0">
                <a:solidFill>
                  <a:srgbClr val="004388"/>
                </a:solidFill>
              </a:rPr>
              <a:t>Self Introduction</a:t>
            </a:r>
            <a:endParaRPr lang="zh-CN" altLang="en-US" dirty="0">
              <a:solidFill>
                <a:srgbClr val="004388"/>
              </a:solidFill>
            </a:endParaRPr>
          </a:p>
        </p:txBody>
      </p:sp>
    </p:spTree>
    <p:extLst>
      <p:ext uri="{BB962C8B-B14F-4D97-AF65-F5344CB8AC3E}">
        <p14:creationId xmlns:p14="http://schemas.microsoft.com/office/powerpoint/2010/main" val="11931747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99F9721-A82C-4D74-AE0E-205666A4F9B2}"/>
              </a:ext>
            </a:extLst>
          </p:cNvPr>
          <p:cNvSpPr>
            <a:spLocks noGrp="1"/>
          </p:cNvSpPr>
          <p:nvPr>
            <p:ph type="sldNum" sz="quarter" idx="16"/>
          </p:nvPr>
        </p:nvSpPr>
        <p:spPr/>
        <p:txBody>
          <a:bodyPr/>
          <a:lstStyle/>
          <a:p>
            <a:r>
              <a:rPr lang="en-US" noProof="0"/>
              <a:t>Page </a:t>
            </a:r>
            <a:fld id="{CDF7CB8E-0C0F-4AA4-8EC3-057F9A13ED4A}" type="slidenum">
              <a:rPr lang="en-US" noProof="0" smtClean="0"/>
              <a:pPr/>
              <a:t>3</a:t>
            </a:fld>
            <a:endParaRPr lang="en-US" noProof="0" dirty="0"/>
          </a:p>
        </p:txBody>
      </p:sp>
      <p:cxnSp>
        <p:nvCxnSpPr>
          <p:cNvPr id="46" name="Gerader Verbinder 59">
            <a:extLst>
              <a:ext uri="{FF2B5EF4-FFF2-40B4-BE49-F238E27FC236}">
                <a16:creationId xmlns:a16="http://schemas.microsoft.com/office/drawing/2014/main" id="{3C4C5C12-90AC-4501-964D-BF1692C376BC}"/>
              </a:ext>
            </a:extLst>
          </p:cNvPr>
          <p:cNvCxnSpPr>
            <a:cxnSpLocks/>
          </p:cNvCxnSpPr>
          <p:nvPr/>
        </p:nvCxnSpPr>
        <p:spPr bwMode="gray">
          <a:xfrm>
            <a:off x="7597372" y="1039882"/>
            <a:ext cx="811018" cy="0"/>
          </a:xfrm>
          <a:prstGeom prst="line">
            <a:avLst/>
          </a:prstGeom>
          <a:ln w="38100" cap="rnd">
            <a:solidFill>
              <a:srgbClr val="D1DCE3"/>
            </a:solidFill>
            <a:prstDash val="sysDot"/>
          </a:ln>
        </p:spPr>
        <p:style>
          <a:lnRef idx="1">
            <a:schemeClr val="accent1"/>
          </a:lnRef>
          <a:fillRef idx="0">
            <a:schemeClr val="accent1"/>
          </a:fillRef>
          <a:effectRef idx="0">
            <a:schemeClr val="accent1"/>
          </a:effectRef>
          <a:fontRef idx="minor">
            <a:schemeClr val="tx1"/>
          </a:fontRef>
        </p:style>
      </p:cxnSp>
      <p:sp>
        <p:nvSpPr>
          <p:cNvPr id="47" name="G: Kreis F&amp;E">
            <a:extLst>
              <a:ext uri="{FF2B5EF4-FFF2-40B4-BE49-F238E27FC236}">
                <a16:creationId xmlns:a16="http://schemas.microsoft.com/office/drawing/2014/main" id="{496C100D-822C-479E-9341-31785B78B82B}"/>
              </a:ext>
            </a:extLst>
          </p:cNvPr>
          <p:cNvSpPr/>
          <p:nvPr/>
        </p:nvSpPr>
        <p:spPr bwMode="gray">
          <a:xfrm>
            <a:off x="8423113" y="516908"/>
            <a:ext cx="1047327" cy="1047327"/>
          </a:xfrm>
          <a:prstGeom prst="ellipse">
            <a:avLst/>
          </a:prstGeom>
          <a:solidFill>
            <a:srgbClr val="D1DCE3"/>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39"/>
            <a:endParaRPr lang="en-US" sz="1600">
              <a:solidFill>
                <a:srgbClr val="000000"/>
              </a:solidFill>
              <a:latin typeface="Arial"/>
            </a:endParaRPr>
          </a:p>
        </p:txBody>
      </p:sp>
      <p:pic>
        <p:nvPicPr>
          <p:cNvPr id="48" name="G: Landkarte">
            <a:extLst>
              <a:ext uri="{FF2B5EF4-FFF2-40B4-BE49-F238E27FC236}">
                <a16:creationId xmlns:a16="http://schemas.microsoft.com/office/drawing/2014/main" id="{00A2246C-C1E8-4D1C-A4EC-746705E36995}"/>
              </a:ext>
            </a:extLst>
          </p:cNvPr>
          <p:cNvPicPr>
            <a:picLocks noChangeAspect="1"/>
          </p:cNvPicPr>
          <p:nvPr/>
        </p:nvPicPr>
        <p:blipFill>
          <a:blip r:embed="rId20"/>
          <a:stretch>
            <a:fillRect/>
          </a:stretch>
        </p:blipFill>
        <p:spPr>
          <a:xfrm>
            <a:off x="1895899" y="1865017"/>
            <a:ext cx="8244125" cy="4065074"/>
          </a:xfrm>
          <a:prstGeom prst="rect">
            <a:avLst/>
          </a:prstGeom>
        </p:spPr>
      </p:pic>
      <p:pic>
        <p:nvPicPr>
          <p:cNvPr id="49" name="Grafik 17">
            <a:extLst>
              <a:ext uri="{FF2B5EF4-FFF2-40B4-BE49-F238E27FC236}">
                <a16:creationId xmlns:a16="http://schemas.microsoft.com/office/drawing/2014/main" id="{C9BCB617-2208-4359-A22A-81EE72644827}"/>
              </a:ext>
            </a:extLst>
          </p:cNvPr>
          <p:cNvPicPr>
            <a:picLocks noChangeAspect="1"/>
          </p:cNvPicPr>
          <p:nvPr/>
        </p:nvPicPr>
        <p:blipFill>
          <a:blip r:embed="rId21"/>
          <a:stretch>
            <a:fillRect/>
          </a:stretch>
        </p:blipFill>
        <p:spPr>
          <a:xfrm>
            <a:off x="10286244" y="331150"/>
            <a:ext cx="1419642" cy="1413550"/>
          </a:xfrm>
          <a:prstGeom prst="rect">
            <a:avLst/>
          </a:prstGeom>
        </p:spPr>
      </p:pic>
      <p:pic>
        <p:nvPicPr>
          <p:cNvPr id="50" name="G: Kreis für Equity Ratio">
            <a:extLst>
              <a:ext uri="{FF2B5EF4-FFF2-40B4-BE49-F238E27FC236}">
                <a16:creationId xmlns:a16="http://schemas.microsoft.com/office/drawing/2014/main" id="{74DBA8CC-C875-4858-9DE5-8536AE2792C4}"/>
              </a:ext>
            </a:extLst>
          </p:cNvPr>
          <p:cNvPicPr>
            <a:picLocks noChangeAspect="1"/>
          </p:cNvPicPr>
          <p:nvPr/>
        </p:nvPicPr>
        <p:blipFill>
          <a:blip r:embed="rId22"/>
          <a:stretch>
            <a:fillRect/>
          </a:stretch>
        </p:blipFill>
        <p:spPr>
          <a:xfrm>
            <a:off x="10286244" y="331150"/>
            <a:ext cx="1419642" cy="1413550"/>
          </a:xfrm>
          <a:prstGeom prst="rect">
            <a:avLst/>
          </a:prstGeom>
        </p:spPr>
      </p:pic>
      <p:pic>
        <p:nvPicPr>
          <p:cNvPr id="51" name="G: Kreis für Umsatz">
            <a:extLst>
              <a:ext uri="{FF2B5EF4-FFF2-40B4-BE49-F238E27FC236}">
                <a16:creationId xmlns:a16="http://schemas.microsoft.com/office/drawing/2014/main" id="{4B7F80CD-E172-4DF2-A65A-C11BC433A01B}"/>
              </a:ext>
            </a:extLst>
          </p:cNvPr>
          <p:cNvPicPr>
            <a:picLocks noChangeAspect="1"/>
          </p:cNvPicPr>
          <p:nvPr/>
        </p:nvPicPr>
        <p:blipFill>
          <a:blip r:embed="rId23"/>
          <a:stretch>
            <a:fillRect/>
          </a:stretch>
        </p:blipFill>
        <p:spPr>
          <a:xfrm>
            <a:off x="2737253" y="516584"/>
            <a:ext cx="1047975" cy="1047975"/>
          </a:xfrm>
          <a:prstGeom prst="rect">
            <a:avLst/>
          </a:prstGeom>
        </p:spPr>
      </p:pic>
      <p:pic>
        <p:nvPicPr>
          <p:cNvPr id="52" name="G: Kreis für Jahreszahl">
            <a:extLst>
              <a:ext uri="{FF2B5EF4-FFF2-40B4-BE49-F238E27FC236}">
                <a16:creationId xmlns:a16="http://schemas.microsoft.com/office/drawing/2014/main" id="{1DBB92FD-A038-414F-B2E1-158EC1862513}"/>
              </a:ext>
            </a:extLst>
          </p:cNvPr>
          <p:cNvPicPr>
            <a:picLocks noChangeAspect="1"/>
          </p:cNvPicPr>
          <p:nvPr/>
        </p:nvPicPr>
        <p:blipFill>
          <a:blip r:embed="rId24"/>
          <a:stretch>
            <a:fillRect/>
          </a:stretch>
        </p:blipFill>
        <p:spPr>
          <a:xfrm>
            <a:off x="482348" y="333107"/>
            <a:ext cx="1413550" cy="1413550"/>
          </a:xfrm>
          <a:prstGeom prst="rect">
            <a:avLst/>
          </a:prstGeom>
        </p:spPr>
      </p:pic>
      <p:sp>
        <p:nvSpPr>
          <p:cNvPr id="53" name="Textfeld 12">
            <a:extLst>
              <a:ext uri="{FF2B5EF4-FFF2-40B4-BE49-F238E27FC236}">
                <a16:creationId xmlns:a16="http://schemas.microsoft.com/office/drawing/2014/main" id="{C7A6C086-BDE9-4117-8316-03906985D591}"/>
              </a:ext>
            </a:extLst>
          </p:cNvPr>
          <p:cNvSpPr txBox="1">
            <a:spLocks noChangeArrowheads="1"/>
          </p:cNvSpPr>
          <p:nvPr>
            <p:custDataLst>
              <p:tags r:id="rId1"/>
            </p:custDataLst>
          </p:nvPr>
        </p:nvSpPr>
        <p:spPr bwMode="auto">
          <a:xfrm>
            <a:off x="2689495" y="1561434"/>
            <a:ext cx="882213" cy="219217"/>
          </a:xfrm>
          <a:prstGeom prst="rect">
            <a:avLst/>
          </a:prstGeom>
          <a:noFill/>
          <a:ln w="9525">
            <a:noFill/>
            <a:miter lim="800000"/>
            <a:headEnd/>
            <a:tailEnd/>
          </a:ln>
        </p:spPr>
        <p:txBody>
          <a:bodyPr lIns="0" tIns="0" rIns="0" bIns="0" anchor="ctr" anchorCtr="0">
            <a:noAutofit/>
          </a:bodyPr>
          <a:lstStyle/>
          <a:p>
            <a:pPr algn="ctr" defTabSz="609316">
              <a:lnSpc>
                <a:spcPct val="105000"/>
              </a:lnSpc>
              <a:defRPr/>
            </a:pPr>
            <a:r>
              <a:rPr lang="en-US" sz="1000" b="1">
                <a:solidFill>
                  <a:srgbClr val="D1DCE3"/>
                </a:solidFill>
                <a:latin typeface="Arial"/>
              </a:rPr>
              <a:t>in Million €</a:t>
            </a:r>
          </a:p>
        </p:txBody>
      </p:sp>
      <p:sp>
        <p:nvSpPr>
          <p:cNvPr id="54" name="T: 2021">
            <a:extLst>
              <a:ext uri="{FF2B5EF4-FFF2-40B4-BE49-F238E27FC236}">
                <a16:creationId xmlns:a16="http://schemas.microsoft.com/office/drawing/2014/main" id="{E72AC46C-EEA9-4CC6-8B71-C1B9843E21E6}"/>
              </a:ext>
            </a:extLst>
          </p:cNvPr>
          <p:cNvSpPr txBox="1">
            <a:spLocks noChangeArrowheads="1"/>
          </p:cNvSpPr>
          <p:nvPr>
            <p:custDataLst>
              <p:tags r:id="rId2"/>
            </p:custDataLst>
          </p:nvPr>
        </p:nvSpPr>
        <p:spPr bwMode="auto">
          <a:xfrm>
            <a:off x="635865" y="727296"/>
            <a:ext cx="1223404" cy="627270"/>
          </a:xfrm>
          <a:prstGeom prst="rect">
            <a:avLst/>
          </a:prstGeom>
          <a:noFill/>
          <a:ln w="9525">
            <a:noFill/>
            <a:miter lim="800000"/>
            <a:headEnd/>
            <a:tailEnd/>
          </a:ln>
        </p:spPr>
        <p:txBody>
          <a:bodyPr lIns="0" tIns="0" rIns="108813" bIns="0" anchor="ctr" anchorCtr="0">
            <a:noAutofit/>
          </a:bodyPr>
          <a:lstStyle>
            <a:defPPr>
              <a:defRPr lang="de-DE"/>
            </a:defPPr>
            <a:lvl1pPr algn="r">
              <a:lnSpc>
                <a:spcPct val="105000"/>
              </a:lnSpc>
              <a:defRPr sz="1600">
                <a:solidFill>
                  <a:schemeClr val="tx1">
                    <a:lumMod val="65000"/>
                    <a:lumOff val="35000"/>
                  </a:schemeClr>
                </a:solidFill>
              </a:defRPr>
            </a:lvl1pPr>
          </a:lstStyle>
          <a:p>
            <a:pPr algn="ctr" defTabSz="609316">
              <a:defRPr/>
            </a:pPr>
            <a:r>
              <a:rPr lang="en-US" sz="3597" b="1">
                <a:solidFill>
                  <a:srgbClr val="004388"/>
                </a:solidFill>
                <a:latin typeface="Arial"/>
              </a:rPr>
              <a:t>2022</a:t>
            </a:r>
          </a:p>
        </p:txBody>
      </p:sp>
      <p:sp>
        <p:nvSpPr>
          <p:cNvPr id="55" name="T: Zahl Umsatz">
            <a:extLst>
              <a:ext uri="{FF2B5EF4-FFF2-40B4-BE49-F238E27FC236}">
                <a16:creationId xmlns:a16="http://schemas.microsoft.com/office/drawing/2014/main" id="{13C0667D-E468-40F5-B24B-1EE1B2E023FF}"/>
              </a:ext>
            </a:extLst>
          </p:cNvPr>
          <p:cNvSpPr txBox="1">
            <a:spLocks noChangeArrowheads="1"/>
          </p:cNvSpPr>
          <p:nvPr>
            <p:custDataLst>
              <p:tags r:id="rId3"/>
            </p:custDataLst>
          </p:nvPr>
        </p:nvSpPr>
        <p:spPr bwMode="auto">
          <a:xfrm>
            <a:off x="2737253" y="824707"/>
            <a:ext cx="1047975" cy="431728"/>
          </a:xfrm>
          <a:prstGeom prst="rect">
            <a:avLst/>
          </a:prstGeom>
          <a:noFill/>
          <a:ln w="9525">
            <a:noFill/>
            <a:miter lim="800000"/>
            <a:headEnd/>
            <a:tailEnd/>
          </a:ln>
        </p:spPr>
        <p:txBody>
          <a:bodyPr lIns="0" tIns="0" rIns="0" bIns="0" anchor="ctr" anchorCtr="0">
            <a:noAutofit/>
          </a:bodyPr>
          <a:lstStyle/>
          <a:p>
            <a:pPr algn="ctr" defTabSz="609316">
              <a:lnSpc>
                <a:spcPct val="105000"/>
              </a:lnSpc>
              <a:defRPr/>
            </a:pPr>
            <a:r>
              <a:rPr lang="en-US" sz="1999" b="1" dirty="0">
                <a:solidFill>
                  <a:srgbClr val="004388"/>
                </a:solidFill>
                <a:latin typeface="Arial"/>
              </a:rPr>
              <a:t>11,753.1</a:t>
            </a:r>
          </a:p>
        </p:txBody>
      </p:sp>
      <p:pic>
        <p:nvPicPr>
          <p:cNvPr id="56" name="G: Kreis für Operating Profit">
            <a:extLst>
              <a:ext uri="{FF2B5EF4-FFF2-40B4-BE49-F238E27FC236}">
                <a16:creationId xmlns:a16="http://schemas.microsoft.com/office/drawing/2014/main" id="{735BD192-E925-427F-BBB8-C78001A6CB07}"/>
              </a:ext>
            </a:extLst>
          </p:cNvPr>
          <p:cNvPicPr>
            <a:picLocks noChangeAspect="1"/>
          </p:cNvPicPr>
          <p:nvPr/>
        </p:nvPicPr>
        <p:blipFill>
          <a:blip r:embed="rId25"/>
          <a:stretch>
            <a:fillRect/>
          </a:stretch>
        </p:blipFill>
        <p:spPr>
          <a:xfrm>
            <a:off x="4632540" y="516584"/>
            <a:ext cx="1047975" cy="1047975"/>
          </a:xfrm>
          <a:prstGeom prst="rect">
            <a:avLst/>
          </a:prstGeom>
        </p:spPr>
      </p:pic>
      <p:sp>
        <p:nvSpPr>
          <p:cNvPr id="57" name="T: Zahl Operating Profit">
            <a:extLst>
              <a:ext uri="{FF2B5EF4-FFF2-40B4-BE49-F238E27FC236}">
                <a16:creationId xmlns:a16="http://schemas.microsoft.com/office/drawing/2014/main" id="{19665F4D-AB5C-440D-BA00-8D561D827471}"/>
              </a:ext>
            </a:extLst>
          </p:cNvPr>
          <p:cNvSpPr txBox="1">
            <a:spLocks noChangeArrowheads="1"/>
          </p:cNvSpPr>
          <p:nvPr>
            <p:custDataLst>
              <p:tags r:id="rId4"/>
            </p:custDataLst>
          </p:nvPr>
        </p:nvSpPr>
        <p:spPr bwMode="auto">
          <a:xfrm>
            <a:off x="4657571" y="824018"/>
            <a:ext cx="1047975" cy="431728"/>
          </a:xfrm>
          <a:prstGeom prst="rect">
            <a:avLst/>
          </a:prstGeom>
          <a:noFill/>
          <a:ln w="9525">
            <a:noFill/>
            <a:miter lim="800000"/>
            <a:headEnd/>
            <a:tailEnd/>
          </a:ln>
        </p:spPr>
        <p:txBody>
          <a:bodyPr lIns="0" tIns="0" rIns="0" bIns="0" anchor="ctr" anchorCtr="0">
            <a:noAutofit/>
          </a:bodyPr>
          <a:lstStyle/>
          <a:p>
            <a:pPr algn="ctr" defTabSz="609316">
              <a:lnSpc>
                <a:spcPct val="105000"/>
              </a:lnSpc>
              <a:defRPr/>
            </a:pPr>
            <a:r>
              <a:rPr lang="en-US" sz="1999" b="1" dirty="0">
                <a:solidFill>
                  <a:srgbClr val="004388"/>
                </a:solidFill>
                <a:latin typeface="Arial"/>
              </a:rPr>
              <a:t>941.8 </a:t>
            </a:r>
          </a:p>
        </p:txBody>
      </p:sp>
      <p:pic>
        <p:nvPicPr>
          <p:cNvPr id="58" name="G: Kreis für Workforce">
            <a:extLst>
              <a:ext uri="{FF2B5EF4-FFF2-40B4-BE49-F238E27FC236}">
                <a16:creationId xmlns:a16="http://schemas.microsoft.com/office/drawing/2014/main" id="{3B747D58-BAD7-4C78-A5B8-B2ADD8EAFE34}"/>
              </a:ext>
            </a:extLst>
          </p:cNvPr>
          <p:cNvPicPr>
            <a:picLocks noChangeAspect="1"/>
          </p:cNvPicPr>
          <p:nvPr/>
        </p:nvPicPr>
        <p:blipFill>
          <a:blip r:embed="rId26"/>
          <a:stretch>
            <a:fillRect/>
          </a:stretch>
        </p:blipFill>
        <p:spPr>
          <a:xfrm>
            <a:off x="6527827" y="516584"/>
            <a:ext cx="1047975" cy="1047975"/>
          </a:xfrm>
          <a:prstGeom prst="rect">
            <a:avLst/>
          </a:prstGeom>
        </p:spPr>
      </p:pic>
      <p:sp>
        <p:nvSpPr>
          <p:cNvPr id="59" name="T: Zahl Workforce">
            <a:extLst>
              <a:ext uri="{FF2B5EF4-FFF2-40B4-BE49-F238E27FC236}">
                <a16:creationId xmlns:a16="http://schemas.microsoft.com/office/drawing/2014/main" id="{FB588527-886C-4027-A83D-EDC62C788002}"/>
              </a:ext>
            </a:extLst>
          </p:cNvPr>
          <p:cNvSpPr txBox="1">
            <a:spLocks noChangeArrowheads="1"/>
          </p:cNvSpPr>
          <p:nvPr>
            <p:custDataLst>
              <p:tags r:id="rId5"/>
            </p:custDataLst>
          </p:nvPr>
        </p:nvSpPr>
        <p:spPr bwMode="auto">
          <a:xfrm>
            <a:off x="6499557" y="824018"/>
            <a:ext cx="1047975" cy="431728"/>
          </a:xfrm>
          <a:prstGeom prst="rect">
            <a:avLst/>
          </a:prstGeom>
          <a:noFill/>
          <a:ln w="9525">
            <a:noFill/>
            <a:miter lim="800000"/>
            <a:headEnd/>
            <a:tailEnd/>
          </a:ln>
        </p:spPr>
        <p:txBody>
          <a:bodyPr lIns="0" tIns="0" rIns="0" bIns="0" anchor="ctr" anchorCtr="0">
            <a:noAutofit/>
          </a:bodyPr>
          <a:lstStyle/>
          <a:p>
            <a:pPr algn="ctr" defTabSz="609316">
              <a:lnSpc>
                <a:spcPct val="105000"/>
              </a:lnSpc>
              <a:defRPr/>
            </a:pPr>
            <a:r>
              <a:rPr lang="en-US" sz="1999" b="1">
                <a:solidFill>
                  <a:srgbClr val="004388"/>
                </a:solidFill>
                <a:latin typeface="Arial"/>
              </a:rPr>
              <a:t>51,462 </a:t>
            </a:r>
          </a:p>
        </p:txBody>
      </p:sp>
      <p:cxnSp>
        <p:nvCxnSpPr>
          <p:cNvPr id="60" name="Gerader Verbinder 19">
            <a:extLst>
              <a:ext uri="{FF2B5EF4-FFF2-40B4-BE49-F238E27FC236}">
                <a16:creationId xmlns:a16="http://schemas.microsoft.com/office/drawing/2014/main" id="{2BD8E043-4C4D-47CF-9911-CC30458AC6B1}"/>
              </a:ext>
            </a:extLst>
          </p:cNvPr>
          <p:cNvCxnSpPr>
            <a:cxnSpLocks/>
            <a:endCxn id="55" idx="1"/>
          </p:cNvCxnSpPr>
          <p:nvPr/>
        </p:nvCxnSpPr>
        <p:spPr bwMode="gray">
          <a:xfrm flipV="1">
            <a:off x="2024415" y="1040571"/>
            <a:ext cx="712838" cy="3877"/>
          </a:xfrm>
          <a:prstGeom prst="line">
            <a:avLst/>
          </a:prstGeom>
          <a:ln w="38100" cap="rnd">
            <a:solidFill>
              <a:srgbClr val="D1DCE3"/>
            </a:solidFill>
            <a:prstDash val="sysDot"/>
          </a:ln>
        </p:spPr>
        <p:style>
          <a:lnRef idx="1">
            <a:schemeClr val="accent1"/>
          </a:lnRef>
          <a:fillRef idx="0">
            <a:schemeClr val="accent1"/>
          </a:fillRef>
          <a:effectRef idx="0">
            <a:schemeClr val="accent1"/>
          </a:effectRef>
          <a:fontRef idx="minor">
            <a:schemeClr val="tx1"/>
          </a:fontRef>
        </p:style>
      </p:cxnSp>
      <p:sp>
        <p:nvSpPr>
          <p:cNvPr id="61" name="T: Umsatz">
            <a:extLst>
              <a:ext uri="{FF2B5EF4-FFF2-40B4-BE49-F238E27FC236}">
                <a16:creationId xmlns:a16="http://schemas.microsoft.com/office/drawing/2014/main" id="{7EF1DA2C-2CE8-4AE3-9E79-51E21BF3CD99}"/>
              </a:ext>
            </a:extLst>
          </p:cNvPr>
          <p:cNvSpPr txBox="1">
            <a:spLocks noChangeArrowheads="1"/>
          </p:cNvSpPr>
          <p:nvPr>
            <p:custDataLst>
              <p:tags r:id="rId6"/>
            </p:custDataLst>
          </p:nvPr>
        </p:nvSpPr>
        <p:spPr bwMode="auto">
          <a:xfrm>
            <a:off x="2820133" y="240128"/>
            <a:ext cx="882213" cy="219217"/>
          </a:xfrm>
          <a:prstGeom prst="rect">
            <a:avLst/>
          </a:prstGeom>
          <a:noFill/>
          <a:ln w="9525">
            <a:noFill/>
            <a:miter lim="800000"/>
            <a:headEnd/>
            <a:tailEnd/>
          </a:ln>
        </p:spPr>
        <p:txBody>
          <a:bodyPr lIns="0" tIns="0" rIns="0" bIns="0" anchor="ctr" anchorCtr="0">
            <a:noAutofit/>
          </a:bodyPr>
          <a:lstStyle/>
          <a:p>
            <a:pPr algn="ctr" defTabSz="609316">
              <a:lnSpc>
                <a:spcPct val="105000"/>
              </a:lnSpc>
              <a:defRPr/>
            </a:pPr>
            <a:r>
              <a:rPr lang="en-US" sz="1200" b="1" dirty="0">
                <a:solidFill>
                  <a:srgbClr val="004388"/>
                </a:solidFill>
                <a:latin typeface="Arial"/>
              </a:rPr>
              <a:t>Sales</a:t>
            </a:r>
          </a:p>
        </p:txBody>
      </p:sp>
      <p:sp>
        <p:nvSpPr>
          <p:cNvPr id="62" name="T: in Million">
            <a:extLst>
              <a:ext uri="{FF2B5EF4-FFF2-40B4-BE49-F238E27FC236}">
                <a16:creationId xmlns:a16="http://schemas.microsoft.com/office/drawing/2014/main" id="{CD7CE2FF-FC7D-40B3-A649-F066532B6E84}"/>
              </a:ext>
            </a:extLst>
          </p:cNvPr>
          <p:cNvSpPr txBox="1">
            <a:spLocks noChangeArrowheads="1"/>
          </p:cNvSpPr>
          <p:nvPr>
            <p:custDataLst>
              <p:tags r:id="rId7"/>
            </p:custDataLst>
          </p:nvPr>
        </p:nvSpPr>
        <p:spPr bwMode="auto">
          <a:xfrm>
            <a:off x="4774514" y="1561434"/>
            <a:ext cx="882213" cy="219217"/>
          </a:xfrm>
          <a:prstGeom prst="rect">
            <a:avLst/>
          </a:prstGeom>
          <a:noFill/>
          <a:ln w="9525">
            <a:noFill/>
            <a:miter lim="800000"/>
            <a:headEnd/>
            <a:tailEnd/>
          </a:ln>
        </p:spPr>
        <p:txBody>
          <a:bodyPr lIns="0" tIns="0" rIns="0" bIns="0" anchor="ctr" anchorCtr="0">
            <a:noAutofit/>
          </a:bodyPr>
          <a:lstStyle/>
          <a:p>
            <a:pPr algn="ctr" defTabSz="609316">
              <a:lnSpc>
                <a:spcPct val="105000"/>
              </a:lnSpc>
              <a:defRPr/>
            </a:pPr>
            <a:r>
              <a:rPr lang="en-US" sz="1000" b="1">
                <a:solidFill>
                  <a:srgbClr val="D1DCE3"/>
                </a:solidFill>
                <a:latin typeface="Arial"/>
              </a:rPr>
              <a:t>in Million €</a:t>
            </a:r>
          </a:p>
        </p:txBody>
      </p:sp>
      <p:sp>
        <p:nvSpPr>
          <p:cNvPr id="63" name="T: Operating Profit">
            <a:extLst>
              <a:ext uri="{FF2B5EF4-FFF2-40B4-BE49-F238E27FC236}">
                <a16:creationId xmlns:a16="http://schemas.microsoft.com/office/drawing/2014/main" id="{168E7D35-3909-4304-9EA7-1CA0A5EF6B86}"/>
              </a:ext>
            </a:extLst>
          </p:cNvPr>
          <p:cNvSpPr txBox="1">
            <a:spLocks noChangeArrowheads="1"/>
          </p:cNvSpPr>
          <p:nvPr>
            <p:custDataLst>
              <p:tags r:id="rId8"/>
            </p:custDataLst>
          </p:nvPr>
        </p:nvSpPr>
        <p:spPr bwMode="auto">
          <a:xfrm>
            <a:off x="4325518" y="240128"/>
            <a:ext cx="1712079" cy="219217"/>
          </a:xfrm>
          <a:prstGeom prst="rect">
            <a:avLst/>
          </a:prstGeom>
          <a:noFill/>
          <a:ln w="9525">
            <a:noFill/>
            <a:miter lim="800000"/>
            <a:headEnd/>
            <a:tailEnd/>
          </a:ln>
        </p:spPr>
        <p:txBody>
          <a:bodyPr lIns="0" tIns="0" rIns="0" bIns="0" anchor="ctr" anchorCtr="0">
            <a:noAutofit/>
          </a:bodyPr>
          <a:lstStyle/>
          <a:p>
            <a:pPr algn="ctr" defTabSz="609316">
              <a:lnSpc>
                <a:spcPct val="105000"/>
              </a:lnSpc>
              <a:defRPr/>
            </a:pPr>
            <a:r>
              <a:rPr lang="en-US" sz="1200" b="1" dirty="0">
                <a:solidFill>
                  <a:srgbClr val="004388"/>
                </a:solidFill>
                <a:latin typeface="Arial"/>
              </a:rPr>
              <a:t>Operating Profit </a:t>
            </a:r>
          </a:p>
        </p:txBody>
      </p:sp>
      <p:sp>
        <p:nvSpPr>
          <p:cNvPr id="64" name="T: Workforce">
            <a:extLst>
              <a:ext uri="{FF2B5EF4-FFF2-40B4-BE49-F238E27FC236}">
                <a16:creationId xmlns:a16="http://schemas.microsoft.com/office/drawing/2014/main" id="{E8FF6A7D-5CBB-4FF6-B78C-9BF9365F26C8}"/>
              </a:ext>
            </a:extLst>
          </p:cNvPr>
          <p:cNvSpPr txBox="1">
            <a:spLocks noChangeArrowheads="1"/>
          </p:cNvSpPr>
          <p:nvPr>
            <p:custDataLst>
              <p:tags r:id="rId9"/>
            </p:custDataLst>
          </p:nvPr>
        </p:nvSpPr>
        <p:spPr bwMode="auto">
          <a:xfrm>
            <a:off x="6195023" y="240128"/>
            <a:ext cx="1712079" cy="219217"/>
          </a:xfrm>
          <a:prstGeom prst="rect">
            <a:avLst/>
          </a:prstGeom>
          <a:noFill/>
          <a:ln w="9525">
            <a:noFill/>
            <a:miter lim="800000"/>
            <a:headEnd/>
            <a:tailEnd/>
          </a:ln>
        </p:spPr>
        <p:txBody>
          <a:bodyPr lIns="0" tIns="0" rIns="0" bIns="0" anchor="ctr" anchorCtr="0">
            <a:noAutofit/>
          </a:bodyPr>
          <a:lstStyle/>
          <a:p>
            <a:pPr algn="ctr" defTabSz="609316">
              <a:lnSpc>
                <a:spcPct val="105000"/>
              </a:lnSpc>
              <a:defRPr/>
            </a:pPr>
            <a:r>
              <a:rPr lang="en-US" sz="1200" b="1" dirty="0">
                <a:solidFill>
                  <a:srgbClr val="004388"/>
                </a:solidFill>
                <a:latin typeface="Arial"/>
              </a:rPr>
              <a:t>Workforce </a:t>
            </a:r>
          </a:p>
        </p:txBody>
      </p:sp>
      <p:cxnSp>
        <p:nvCxnSpPr>
          <p:cNvPr id="65" name="Gerader Verbinder 59">
            <a:extLst>
              <a:ext uri="{FF2B5EF4-FFF2-40B4-BE49-F238E27FC236}">
                <a16:creationId xmlns:a16="http://schemas.microsoft.com/office/drawing/2014/main" id="{5C9CB84D-0C86-4D3A-8750-0A084239FFC2}"/>
              </a:ext>
            </a:extLst>
          </p:cNvPr>
          <p:cNvCxnSpPr>
            <a:cxnSpLocks/>
            <a:stCxn id="57" idx="3"/>
            <a:endCxn id="59" idx="1"/>
          </p:cNvCxnSpPr>
          <p:nvPr/>
        </p:nvCxnSpPr>
        <p:spPr bwMode="gray">
          <a:xfrm>
            <a:off x="5705546" y="1039882"/>
            <a:ext cx="794011" cy="0"/>
          </a:xfrm>
          <a:prstGeom prst="line">
            <a:avLst/>
          </a:prstGeom>
          <a:ln w="38100" cap="rnd">
            <a:solidFill>
              <a:srgbClr val="D1DCE3"/>
            </a:solidFill>
            <a:prstDash val="sysDot"/>
          </a:ln>
        </p:spPr>
        <p:style>
          <a:lnRef idx="1">
            <a:schemeClr val="accent1"/>
          </a:lnRef>
          <a:fillRef idx="0">
            <a:schemeClr val="accent1"/>
          </a:fillRef>
          <a:effectRef idx="0">
            <a:schemeClr val="accent1"/>
          </a:effectRef>
          <a:fontRef idx="minor">
            <a:schemeClr val="tx1"/>
          </a:fontRef>
        </p:style>
      </p:cxnSp>
      <p:cxnSp>
        <p:nvCxnSpPr>
          <p:cNvPr id="66" name="Gerader Verbinder 62">
            <a:extLst>
              <a:ext uri="{FF2B5EF4-FFF2-40B4-BE49-F238E27FC236}">
                <a16:creationId xmlns:a16="http://schemas.microsoft.com/office/drawing/2014/main" id="{466ADA5C-65F1-4522-B6F8-BF2D3B62BE95}"/>
              </a:ext>
            </a:extLst>
          </p:cNvPr>
          <p:cNvCxnSpPr>
            <a:cxnSpLocks/>
            <a:stCxn id="51" idx="3"/>
          </p:cNvCxnSpPr>
          <p:nvPr/>
        </p:nvCxnSpPr>
        <p:spPr bwMode="gray">
          <a:xfrm>
            <a:off x="3785228" y="1040572"/>
            <a:ext cx="847130" cy="1"/>
          </a:xfrm>
          <a:prstGeom prst="line">
            <a:avLst/>
          </a:prstGeom>
          <a:ln w="38100" cap="rnd">
            <a:solidFill>
              <a:srgbClr val="D1DCE3"/>
            </a:solidFill>
            <a:prstDash val="sysDot"/>
          </a:ln>
        </p:spPr>
        <p:style>
          <a:lnRef idx="1">
            <a:schemeClr val="accent1"/>
          </a:lnRef>
          <a:fillRef idx="0">
            <a:schemeClr val="accent1"/>
          </a:fillRef>
          <a:effectRef idx="0">
            <a:schemeClr val="accent1"/>
          </a:effectRef>
          <a:fontRef idx="minor">
            <a:schemeClr val="tx1"/>
          </a:fontRef>
        </p:style>
      </p:cxnSp>
      <p:cxnSp>
        <p:nvCxnSpPr>
          <p:cNvPr id="67" name="Gerader Verbinder 66">
            <a:extLst>
              <a:ext uri="{FF2B5EF4-FFF2-40B4-BE49-F238E27FC236}">
                <a16:creationId xmlns:a16="http://schemas.microsoft.com/office/drawing/2014/main" id="{80B90FB2-1FA8-4AD3-8CED-44BFA0547D77}"/>
              </a:ext>
            </a:extLst>
          </p:cNvPr>
          <p:cNvCxnSpPr>
            <a:cxnSpLocks/>
          </p:cNvCxnSpPr>
          <p:nvPr/>
        </p:nvCxnSpPr>
        <p:spPr bwMode="gray">
          <a:xfrm flipV="1">
            <a:off x="9484856" y="1037925"/>
            <a:ext cx="829959" cy="1957"/>
          </a:xfrm>
          <a:prstGeom prst="line">
            <a:avLst/>
          </a:prstGeom>
          <a:ln w="38100" cap="rnd">
            <a:solidFill>
              <a:srgbClr val="D1DCE3"/>
            </a:solidFill>
            <a:prstDash val="sysDot"/>
          </a:ln>
        </p:spPr>
        <p:style>
          <a:lnRef idx="1">
            <a:schemeClr val="accent1"/>
          </a:lnRef>
          <a:fillRef idx="0">
            <a:schemeClr val="accent1"/>
          </a:fillRef>
          <a:effectRef idx="0">
            <a:schemeClr val="accent1"/>
          </a:effectRef>
          <a:fontRef idx="minor">
            <a:schemeClr val="tx1"/>
          </a:fontRef>
        </p:style>
      </p:cxnSp>
      <p:sp>
        <p:nvSpPr>
          <p:cNvPr id="68" name="T: 50.2">
            <a:extLst>
              <a:ext uri="{FF2B5EF4-FFF2-40B4-BE49-F238E27FC236}">
                <a16:creationId xmlns:a16="http://schemas.microsoft.com/office/drawing/2014/main" id="{888AFF62-14EB-4193-9258-BDFBCF0C179D}"/>
              </a:ext>
            </a:extLst>
          </p:cNvPr>
          <p:cNvSpPr txBox="1"/>
          <p:nvPr/>
        </p:nvSpPr>
        <p:spPr bwMode="gray">
          <a:xfrm>
            <a:off x="10307189" y="740289"/>
            <a:ext cx="1402080" cy="615073"/>
          </a:xfrm>
          <a:prstGeom prst="rect">
            <a:avLst/>
          </a:prstGeom>
          <a:noFill/>
        </p:spPr>
        <p:txBody>
          <a:bodyPr wrap="square" lIns="0" tIns="0" rIns="0" bIns="0">
            <a:spAutoFit/>
          </a:bodyPr>
          <a:lstStyle/>
          <a:p>
            <a:pPr algn="ctr" defTabSz="609316">
              <a:defRPr/>
            </a:pPr>
            <a:r>
              <a:rPr lang="en-US" sz="3997" b="1">
                <a:solidFill>
                  <a:srgbClr val="004388"/>
                </a:solidFill>
                <a:latin typeface="Arial"/>
              </a:rPr>
              <a:t>54.0</a:t>
            </a:r>
          </a:p>
        </p:txBody>
      </p:sp>
      <p:sp>
        <p:nvSpPr>
          <p:cNvPr id="69" name="T: Equity Ratio of">
            <a:extLst>
              <a:ext uri="{FF2B5EF4-FFF2-40B4-BE49-F238E27FC236}">
                <a16:creationId xmlns:a16="http://schemas.microsoft.com/office/drawing/2014/main" id="{4241F303-45D2-4804-A58D-545CC1CB3D1E}"/>
              </a:ext>
            </a:extLst>
          </p:cNvPr>
          <p:cNvSpPr txBox="1">
            <a:spLocks noChangeArrowheads="1"/>
          </p:cNvSpPr>
          <p:nvPr>
            <p:custDataLst>
              <p:tags r:id="rId10"/>
            </p:custDataLst>
          </p:nvPr>
        </p:nvSpPr>
        <p:spPr bwMode="auto">
          <a:xfrm>
            <a:off x="10140024" y="433232"/>
            <a:ext cx="1712079" cy="317939"/>
          </a:xfrm>
          <a:prstGeom prst="rect">
            <a:avLst/>
          </a:prstGeom>
          <a:noFill/>
          <a:ln w="9525">
            <a:noFill/>
            <a:miter lim="800000"/>
            <a:headEnd/>
            <a:tailEnd/>
          </a:ln>
        </p:spPr>
        <p:txBody>
          <a:bodyPr lIns="0" tIns="0" rIns="0" bIns="0" anchor="ctr" anchorCtr="0">
            <a:noAutofit/>
          </a:bodyPr>
          <a:lstStyle/>
          <a:p>
            <a:pPr algn="ctr" defTabSz="609316">
              <a:lnSpc>
                <a:spcPct val="105000"/>
              </a:lnSpc>
              <a:defRPr/>
            </a:pPr>
            <a:r>
              <a:rPr lang="en-US" sz="1200" b="1">
                <a:solidFill>
                  <a:srgbClr val="FFFFFF"/>
                </a:solidFill>
                <a:latin typeface="Arial"/>
              </a:rPr>
              <a:t>Equity Ratio</a:t>
            </a:r>
          </a:p>
        </p:txBody>
      </p:sp>
      <p:sp>
        <p:nvSpPr>
          <p:cNvPr id="70" name="T: %">
            <a:extLst>
              <a:ext uri="{FF2B5EF4-FFF2-40B4-BE49-F238E27FC236}">
                <a16:creationId xmlns:a16="http://schemas.microsoft.com/office/drawing/2014/main" id="{57ABB2F1-2426-4445-9C72-408EA0D0490C}"/>
              </a:ext>
            </a:extLst>
          </p:cNvPr>
          <p:cNvSpPr txBox="1"/>
          <p:nvPr/>
        </p:nvSpPr>
        <p:spPr bwMode="gray">
          <a:xfrm>
            <a:off x="10839898" y="1262486"/>
            <a:ext cx="369569" cy="492315"/>
          </a:xfrm>
          <a:prstGeom prst="rect">
            <a:avLst/>
          </a:prstGeom>
          <a:noFill/>
        </p:spPr>
        <p:txBody>
          <a:bodyPr wrap="square" lIns="0" tIns="0" rIns="0" bIns="0">
            <a:spAutoFit/>
          </a:bodyPr>
          <a:lstStyle/>
          <a:p>
            <a:pPr algn="ctr" defTabSz="609539"/>
            <a:r>
              <a:rPr lang="en-US" sz="3199" b="1">
                <a:solidFill>
                  <a:srgbClr val="FFFFFF"/>
                </a:solidFill>
                <a:latin typeface="Arial"/>
              </a:rPr>
              <a:t>%</a:t>
            </a:r>
            <a:endParaRPr lang="en-US" sz="1799">
              <a:solidFill>
                <a:srgbClr val="FFFFFF"/>
              </a:solidFill>
              <a:latin typeface="Arial"/>
            </a:endParaRPr>
          </a:p>
        </p:txBody>
      </p:sp>
      <p:sp>
        <p:nvSpPr>
          <p:cNvPr id="71" name="T: FB Gruppe">
            <a:extLst>
              <a:ext uri="{FF2B5EF4-FFF2-40B4-BE49-F238E27FC236}">
                <a16:creationId xmlns:a16="http://schemas.microsoft.com/office/drawing/2014/main" id="{78C0A03E-95ED-4090-B685-B629E41452A0}"/>
              </a:ext>
            </a:extLst>
          </p:cNvPr>
          <p:cNvSpPr txBox="1">
            <a:spLocks/>
          </p:cNvSpPr>
          <p:nvPr/>
        </p:nvSpPr>
        <p:spPr>
          <a:xfrm>
            <a:off x="351863" y="1799759"/>
            <a:ext cx="7340971" cy="1438978"/>
          </a:xfrm>
          <a:prstGeom prst="rect">
            <a:avLst/>
          </a:prstGeom>
        </p:spPr>
        <p:txBody>
          <a:bodyPr/>
          <a:lstStyle>
            <a:lvl1pPr marL="285750" indent="-285750" algn="l" defTabSz="1219444" rtl="0" eaLnBrk="1" latinLnBrk="0" hangingPunct="1">
              <a:lnSpc>
                <a:spcPct val="120000"/>
              </a:lnSpc>
              <a:spcBef>
                <a:spcPts val="600"/>
              </a:spcBef>
              <a:buClr>
                <a:schemeClr val="accent1"/>
              </a:buClr>
              <a:buSzPct val="100000"/>
              <a:buFont typeface="Arial" panose="020B0604020202020204" pitchFamily="34" charset="0"/>
              <a:buChar char="●"/>
              <a:defRPr sz="1600" b="0" kern="1200">
                <a:solidFill>
                  <a:srgbClr val="000000"/>
                </a:solidFill>
                <a:latin typeface="+mn-lt"/>
                <a:ea typeface="+mn-ea"/>
                <a:cs typeface="Arial" panose="020B0604020202020204" pitchFamily="34" charset="0"/>
              </a:defRPr>
            </a:lvl1pPr>
            <a:lvl2pPr marL="534988" indent="-261938" algn="l" defTabSz="1219444" rtl="0" eaLnBrk="1" latinLnBrk="0" hangingPunct="1">
              <a:lnSpc>
                <a:spcPct val="120000"/>
              </a:lnSpc>
              <a:spcBef>
                <a:spcPts val="600"/>
              </a:spcBef>
              <a:buClr>
                <a:schemeClr val="accent1"/>
              </a:buClr>
              <a:buFont typeface="Symbol" panose="05050102010706020507" pitchFamily="18" charset="2"/>
              <a:buChar char=""/>
              <a:defRPr sz="1600" kern="1200" baseline="0">
                <a:solidFill>
                  <a:srgbClr val="000000"/>
                </a:solidFill>
                <a:latin typeface="+mn-lt"/>
                <a:ea typeface="+mn-ea"/>
                <a:cs typeface="Arial" panose="020B0604020202020204" pitchFamily="34" charset="0"/>
              </a:defRPr>
            </a:lvl2pPr>
            <a:lvl3pPr marL="808038" indent="-273050" algn="l" defTabSz="1219444" rtl="0" eaLnBrk="1" latinLnBrk="0" hangingPunct="1">
              <a:lnSpc>
                <a:spcPct val="120000"/>
              </a:lnSpc>
              <a:spcBef>
                <a:spcPts val="600"/>
              </a:spcBef>
              <a:buClr>
                <a:schemeClr val="accent1"/>
              </a:buClr>
              <a:buSzPct val="80000"/>
              <a:buFont typeface="Arial" panose="020B0604020202020204" pitchFamily="34" charset="0"/>
              <a:buChar char="●"/>
              <a:tabLst/>
              <a:defRPr sz="1600" kern="1200" baseline="0">
                <a:solidFill>
                  <a:srgbClr val="000000"/>
                </a:solidFill>
                <a:latin typeface="+mn-lt"/>
                <a:ea typeface="+mn-ea"/>
                <a:cs typeface="Arial" panose="020B0604020202020204" pitchFamily="34" charset="0"/>
              </a:defRPr>
            </a:lvl3pPr>
            <a:lvl4pPr marL="1081088" indent="-273050" algn="l" defTabSz="1219444" rtl="0" eaLnBrk="1" latinLnBrk="0" hangingPunct="1">
              <a:lnSpc>
                <a:spcPct val="120000"/>
              </a:lnSpc>
              <a:spcBef>
                <a:spcPts val="300"/>
              </a:spcBef>
              <a:buClr>
                <a:schemeClr val="accent1"/>
              </a:buClr>
              <a:buSzPct val="80000"/>
              <a:buFont typeface="Arial" panose="020B0604020202020204" pitchFamily="34" charset="0"/>
              <a:buChar char="●"/>
              <a:defRPr sz="1600" kern="1200">
                <a:solidFill>
                  <a:srgbClr val="000000"/>
                </a:solidFill>
                <a:latin typeface="+mn-lt"/>
                <a:ea typeface="+mn-ea"/>
                <a:cs typeface="Arial" panose="020B0604020202020204" pitchFamily="34" charset="0"/>
              </a:defRPr>
            </a:lvl4pPr>
            <a:lvl5pPr marL="1081088" indent="-273050" algn="l" defTabSz="1219444" rtl="0" eaLnBrk="1" latinLnBrk="0" hangingPunct="1">
              <a:lnSpc>
                <a:spcPct val="120000"/>
              </a:lnSpc>
              <a:spcBef>
                <a:spcPts val="300"/>
              </a:spcBef>
              <a:buClr>
                <a:schemeClr val="accent1"/>
              </a:buClr>
              <a:buSzPct val="80000"/>
              <a:buFont typeface="Arial" panose="020B0604020202020204" pitchFamily="34" charset="0"/>
              <a:buChar char="●"/>
              <a:defRPr sz="1600" kern="1200">
                <a:solidFill>
                  <a:srgbClr val="000000"/>
                </a:solidFill>
                <a:latin typeface="+mn-lt"/>
                <a:ea typeface="+mn-ea"/>
                <a:cs typeface="Arial" panose="020B0604020202020204" pitchFamily="34" charset="0"/>
              </a:defRPr>
            </a:lvl5pPr>
            <a:lvl6pPr marL="1081088" indent="-273050" algn="l" defTabSz="1219444" rtl="0" eaLnBrk="1" latinLnBrk="0" hangingPunct="1">
              <a:lnSpc>
                <a:spcPct val="120000"/>
              </a:lnSpc>
              <a:spcBef>
                <a:spcPts val="300"/>
              </a:spcBef>
              <a:buClr>
                <a:schemeClr val="accent1"/>
              </a:buClr>
              <a:buSzPct val="80000"/>
              <a:buFont typeface="Arial" panose="020B0604020202020204" pitchFamily="34" charset="0"/>
              <a:buChar char="●"/>
              <a:defRPr sz="1600" kern="1200">
                <a:solidFill>
                  <a:schemeClr val="tx1"/>
                </a:solidFill>
                <a:latin typeface="+mn-lt"/>
                <a:ea typeface="+mn-ea"/>
                <a:cs typeface="+mn-cs"/>
              </a:defRPr>
            </a:lvl6pPr>
            <a:lvl7pPr marL="1081088" indent="-273050" algn="l" defTabSz="1219444" rtl="0" eaLnBrk="1" latinLnBrk="0" hangingPunct="1">
              <a:lnSpc>
                <a:spcPct val="120000"/>
              </a:lnSpc>
              <a:spcBef>
                <a:spcPts val="300"/>
              </a:spcBef>
              <a:buClr>
                <a:schemeClr val="accent1"/>
              </a:buClr>
              <a:buSzPct val="80000"/>
              <a:buFont typeface="Arial" panose="020B0604020202020204" pitchFamily="34" charset="0"/>
              <a:buChar char="●"/>
              <a:defRPr sz="1600" kern="1200">
                <a:solidFill>
                  <a:schemeClr val="tx1"/>
                </a:solidFill>
                <a:latin typeface="+mn-lt"/>
                <a:ea typeface="+mn-ea"/>
                <a:cs typeface="+mn-cs"/>
              </a:defRPr>
            </a:lvl7pPr>
            <a:lvl8pPr marL="1081088" indent="-273050" algn="l" defTabSz="1219444" rtl="0" eaLnBrk="1" latinLnBrk="0" hangingPunct="1">
              <a:lnSpc>
                <a:spcPct val="120000"/>
              </a:lnSpc>
              <a:spcBef>
                <a:spcPts val="300"/>
              </a:spcBef>
              <a:buClr>
                <a:schemeClr val="accent1"/>
              </a:buClr>
              <a:buSzPct val="80000"/>
              <a:buFont typeface="Arial" panose="020B0604020202020204" pitchFamily="34" charset="0"/>
              <a:buChar char="●"/>
              <a:defRPr sz="1600" kern="1200">
                <a:solidFill>
                  <a:schemeClr val="tx1"/>
                </a:solidFill>
                <a:latin typeface="+mn-lt"/>
                <a:ea typeface="+mn-ea"/>
                <a:cs typeface="+mn-cs"/>
              </a:defRPr>
            </a:lvl8pPr>
            <a:lvl9pPr marL="1081088" indent="-273050" algn="l" defTabSz="1219444" rtl="0" eaLnBrk="1" latinLnBrk="0" hangingPunct="1">
              <a:lnSpc>
                <a:spcPct val="120000"/>
              </a:lnSpc>
              <a:spcBef>
                <a:spcPts val="300"/>
              </a:spcBef>
              <a:buClr>
                <a:schemeClr val="accent1"/>
              </a:buClr>
              <a:buSzPct val="80000"/>
              <a:buFont typeface="Arial" panose="020B0604020202020204" pitchFamily="34" charset="0"/>
              <a:buChar char="●"/>
              <a:defRPr sz="1600" kern="1200">
                <a:solidFill>
                  <a:schemeClr val="tx1"/>
                </a:solidFill>
                <a:latin typeface="+mn-lt"/>
                <a:ea typeface="+mn-ea"/>
                <a:cs typeface="+mn-cs"/>
              </a:defRPr>
            </a:lvl9pPr>
          </a:lstStyle>
          <a:p>
            <a:pPr marL="0" indent="0" defTabSz="1219078">
              <a:lnSpc>
                <a:spcPct val="100000"/>
              </a:lnSpc>
              <a:spcBef>
                <a:spcPts val="0"/>
              </a:spcBef>
              <a:buClr>
                <a:srgbClr val="004388"/>
              </a:buClr>
              <a:buNone/>
            </a:pPr>
            <a:r>
              <a:rPr lang="en-US" sz="3200" dirty="0">
                <a:solidFill>
                  <a:srgbClr val="004388"/>
                </a:solidFill>
                <a:latin typeface="Arial"/>
              </a:rPr>
              <a:t>Freudenberg </a:t>
            </a:r>
          </a:p>
          <a:p>
            <a:pPr marL="0" indent="0" defTabSz="1219078">
              <a:lnSpc>
                <a:spcPct val="100000"/>
              </a:lnSpc>
              <a:spcBef>
                <a:spcPts val="0"/>
              </a:spcBef>
              <a:buClr>
                <a:srgbClr val="004388"/>
              </a:buClr>
              <a:buNone/>
            </a:pPr>
            <a:r>
              <a:rPr lang="en-US" sz="3200" dirty="0">
                <a:solidFill>
                  <a:srgbClr val="004388"/>
                </a:solidFill>
                <a:latin typeface="Arial"/>
              </a:rPr>
              <a:t>Group</a:t>
            </a:r>
          </a:p>
          <a:p>
            <a:pPr marL="0" indent="0" defTabSz="1219078">
              <a:lnSpc>
                <a:spcPct val="100000"/>
              </a:lnSpc>
              <a:spcBef>
                <a:spcPts val="0"/>
              </a:spcBef>
              <a:buClr>
                <a:srgbClr val="004388"/>
              </a:buClr>
              <a:buNone/>
            </a:pPr>
            <a:r>
              <a:rPr lang="en-US" sz="1999" dirty="0">
                <a:solidFill>
                  <a:srgbClr val="004388"/>
                </a:solidFill>
                <a:latin typeface="Arial"/>
              </a:rPr>
              <a:t>Highly Diversified</a:t>
            </a:r>
          </a:p>
          <a:p>
            <a:pPr marL="0" indent="0" defTabSz="1219078">
              <a:buClr>
                <a:srgbClr val="004388"/>
              </a:buClr>
              <a:buNone/>
            </a:pPr>
            <a:endParaRPr lang="en-US" sz="2199" dirty="0">
              <a:solidFill>
                <a:srgbClr val="004388"/>
              </a:solidFill>
              <a:latin typeface="Arial"/>
            </a:endParaRPr>
          </a:p>
        </p:txBody>
      </p:sp>
      <p:grpSp>
        <p:nvGrpSpPr>
          <p:cNvPr id="72" name="T: Märkte">
            <a:extLst>
              <a:ext uri="{FF2B5EF4-FFF2-40B4-BE49-F238E27FC236}">
                <a16:creationId xmlns:a16="http://schemas.microsoft.com/office/drawing/2014/main" id="{72ECE027-6BB8-4375-A1C0-0310E2FF0CD3}"/>
              </a:ext>
            </a:extLst>
          </p:cNvPr>
          <p:cNvGrpSpPr/>
          <p:nvPr>
            <p:custDataLst>
              <p:tags r:id="rId11"/>
            </p:custDataLst>
          </p:nvPr>
        </p:nvGrpSpPr>
        <p:grpSpPr bwMode="gray">
          <a:xfrm>
            <a:off x="4476242" y="2388379"/>
            <a:ext cx="3281565" cy="3271970"/>
            <a:chOff x="4430016" y="1771697"/>
            <a:chExt cx="3317524" cy="3307825"/>
          </a:xfrm>
        </p:grpSpPr>
        <p:sp>
          <p:nvSpPr>
            <p:cNvPr id="73" name="Reinigung und Textilien">
              <a:extLst>
                <a:ext uri="{FF2B5EF4-FFF2-40B4-BE49-F238E27FC236}">
                  <a16:creationId xmlns:a16="http://schemas.microsoft.com/office/drawing/2014/main" id="{ED976D29-60D7-47C7-BE0C-A07ABC4FDC66}"/>
                </a:ext>
              </a:extLst>
            </p:cNvPr>
            <p:cNvSpPr/>
            <p:nvPr>
              <p:custDataLst>
                <p:tags r:id="rId15"/>
              </p:custDataLst>
            </p:nvPr>
          </p:nvSpPr>
          <p:spPr bwMode="gray">
            <a:xfrm rot="3990948">
              <a:off x="4447631" y="1779612"/>
              <a:ext cx="3299910" cy="329990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91416" tIns="45708" rIns="91416" bIns="45708" numCol="1" spcCol="0" rtlCol="0" fromWordArt="0" anchor="ctr" anchorCtr="0" forceAA="0" compatLnSpc="1">
              <a:prstTxWarp prst="textArchDown">
                <a:avLst>
                  <a:gd name="adj" fmla="val 2918218"/>
                </a:avLst>
              </a:prstTxWarp>
              <a:noAutofit/>
            </a:bodyPr>
            <a:lstStyle/>
            <a:p>
              <a:pPr algn="ctr" defTabSz="609539"/>
              <a:r>
                <a:rPr lang="en-US" sz="1600" cap="all">
                  <a:solidFill>
                    <a:srgbClr val="FFFFFF"/>
                  </a:solidFill>
                  <a:latin typeface="Arial"/>
                  <a:ea typeface="Open Sans" panose="020B0606030504020204" pitchFamily="34" charset="0"/>
                  <a:cs typeface="Calibri" panose="020F0502020204030204" pitchFamily="34" charset="0"/>
                </a:rPr>
                <a:t>Household &amp; </a:t>
              </a:r>
            </a:p>
            <a:p>
              <a:pPr algn="ctr" defTabSz="609539"/>
              <a:r>
                <a:rPr lang="en-US" sz="1600" cap="all">
                  <a:solidFill>
                    <a:srgbClr val="FFFFFF"/>
                  </a:solidFill>
                  <a:latin typeface="Arial"/>
                  <a:ea typeface="Open Sans" panose="020B0606030504020204" pitchFamily="34" charset="0"/>
                  <a:cs typeface="Calibri" panose="020F0502020204030204" pitchFamily="34" charset="0"/>
                </a:rPr>
                <a:t>textiles</a:t>
              </a:r>
            </a:p>
          </p:txBody>
        </p:sp>
        <p:sp>
          <p:nvSpPr>
            <p:cNvPr id="74" name="Energie &amp; Ressourcen">
              <a:extLst>
                <a:ext uri="{FF2B5EF4-FFF2-40B4-BE49-F238E27FC236}">
                  <a16:creationId xmlns:a16="http://schemas.microsoft.com/office/drawing/2014/main" id="{C77CC2B8-C1D3-4A38-8FCB-DA668D83A725}"/>
                </a:ext>
              </a:extLst>
            </p:cNvPr>
            <p:cNvSpPr/>
            <p:nvPr>
              <p:custDataLst>
                <p:tags r:id="rId16"/>
              </p:custDataLst>
            </p:nvPr>
          </p:nvSpPr>
          <p:spPr bwMode="gray">
            <a:xfrm rot="2221740">
              <a:off x="4533501" y="1844148"/>
              <a:ext cx="3170884" cy="3170886"/>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91416" tIns="45708" rIns="91416" bIns="45708" numCol="1" spcCol="0" rtlCol="0" fromWordArt="0" anchor="ctr" anchorCtr="0" forceAA="0" compatLnSpc="1">
              <a:prstTxWarp prst="textArchUp">
                <a:avLst/>
              </a:prstTxWarp>
              <a:noAutofit/>
            </a:bodyPr>
            <a:lstStyle/>
            <a:p>
              <a:pPr algn="ctr" defTabSz="609539"/>
              <a:r>
                <a:rPr lang="en-US" sz="1600" cap="all">
                  <a:solidFill>
                    <a:srgbClr val="FFFFFF"/>
                  </a:solidFill>
                  <a:latin typeface="Arial"/>
                  <a:ea typeface="Open Sans" panose="020B0606030504020204" pitchFamily="34" charset="0"/>
                  <a:cs typeface="Calibri" panose="020F0502020204030204" pitchFamily="34" charset="0"/>
                </a:rPr>
                <a:t>Energy &amp; </a:t>
              </a:r>
            </a:p>
            <a:p>
              <a:pPr algn="ctr" defTabSz="609539"/>
              <a:r>
                <a:rPr lang="en-US" sz="1600" cap="all">
                  <a:solidFill>
                    <a:srgbClr val="FFFFFF"/>
                  </a:solidFill>
                  <a:latin typeface="Arial"/>
                  <a:ea typeface="Open Sans" panose="020B0606030504020204" pitchFamily="34" charset="0"/>
                  <a:cs typeface="Calibri" panose="020F0502020204030204" pitchFamily="34" charset="0"/>
                </a:rPr>
                <a:t>Resources</a:t>
              </a:r>
            </a:p>
          </p:txBody>
        </p:sp>
        <p:sp>
          <p:nvSpPr>
            <p:cNvPr id="75" name="Mobilität &amp; Transport">
              <a:extLst>
                <a:ext uri="{FF2B5EF4-FFF2-40B4-BE49-F238E27FC236}">
                  <a16:creationId xmlns:a16="http://schemas.microsoft.com/office/drawing/2014/main" id="{949A4B79-C552-4AD5-9CEF-F35CB1739667}"/>
                </a:ext>
              </a:extLst>
            </p:cNvPr>
            <p:cNvSpPr/>
            <p:nvPr>
              <p:custDataLst>
                <p:tags r:id="rId17"/>
              </p:custDataLst>
            </p:nvPr>
          </p:nvSpPr>
          <p:spPr bwMode="gray">
            <a:xfrm rot="19568211">
              <a:off x="4510116" y="1815708"/>
              <a:ext cx="3170884" cy="3170885"/>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91416" tIns="45708" rIns="91416" bIns="45708" numCol="1" spcCol="0" rtlCol="0" fromWordArt="0" anchor="ctr" anchorCtr="0" forceAA="0" compatLnSpc="1">
              <a:prstTxWarp prst="textArchUp">
                <a:avLst/>
              </a:prstTxWarp>
              <a:noAutofit/>
            </a:bodyPr>
            <a:lstStyle/>
            <a:p>
              <a:pPr algn="ctr" defTabSz="609539"/>
              <a:r>
                <a:rPr lang="en-US" sz="1600" cap="all">
                  <a:solidFill>
                    <a:srgbClr val="FFFFFF"/>
                  </a:solidFill>
                  <a:latin typeface="Arial"/>
                  <a:ea typeface="Open Sans" panose="020B0606030504020204" pitchFamily="34" charset="0"/>
                  <a:cs typeface="Calibri" panose="020F0502020204030204" pitchFamily="34" charset="0"/>
                </a:rPr>
                <a:t>Mobility &amp;</a:t>
              </a:r>
            </a:p>
            <a:p>
              <a:pPr algn="ctr" defTabSz="609539"/>
              <a:r>
                <a:rPr lang="en-US" sz="1600" cap="all">
                  <a:solidFill>
                    <a:srgbClr val="FFFFFF"/>
                  </a:solidFill>
                  <a:latin typeface="Arial"/>
                  <a:ea typeface="Open Sans" panose="020B0606030504020204" pitchFamily="34" charset="0"/>
                  <a:cs typeface="Calibri" panose="020F0502020204030204" pitchFamily="34" charset="0"/>
                </a:rPr>
                <a:t> Transport</a:t>
              </a:r>
            </a:p>
          </p:txBody>
        </p:sp>
        <p:sp>
          <p:nvSpPr>
            <p:cNvPr id="76" name="Gesundheit &amp; Nahrung">
              <a:extLst>
                <a:ext uri="{FF2B5EF4-FFF2-40B4-BE49-F238E27FC236}">
                  <a16:creationId xmlns:a16="http://schemas.microsoft.com/office/drawing/2014/main" id="{0CD57AD0-4909-4C30-B0A1-F58098A216EA}"/>
                </a:ext>
              </a:extLst>
            </p:cNvPr>
            <p:cNvSpPr/>
            <p:nvPr>
              <p:custDataLst>
                <p:tags r:id="rId18"/>
              </p:custDataLst>
            </p:nvPr>
          </p:nvSpPr>
          <p:spPr bwMode="gray">
            <a:xfrm>
              <a:off x="4430016" y="1771697"/>
              <a:ext cx="3299908" cy="329991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91416" tIns="45708" rIns="91416" bIns="45708" numCol="1" spcCol="0" rtlCol="0" fromWordArt="0" anchor="ctr" anchorCtr="0" forceAA="0" compatLnSpc="1">
              <a:prstTxWarp prst="textArchDown">
                <a:avLst>
                  <a:gd name="adj" fmla="val 2918218"/>
                </a:avLst>
              </a:prstTxWarp>
              <a:noAutofit/>
            </a:bodyPr>
            <a:lstStyle/>
            <a:p>
              <a:pPr algn="ctr" defTabSz="609539"/>
              <a:r>
                <a:rPr lang="en-US" sz="1600" cap="all">
                  <a:solidFill>
                    <a:srgbClr val="FFFFFF"/>
                  </a:solidFill>
                  <a:latin typeface="Arial"/>
                  <a:ea typeface="Open Sans" panose="020B0606030504020204" pitchFamily="34" charset="0"/>
                  <a:cs typeface="Calibri" panose="020F0502020204030204" pitchFamily="34" charset="0"/>
                </a:rPr>
                <a:t>Healthcare &amp; </a:t>
              </a:r>
            </a:p>
            <a:p>
              <a:pPr algn="ctr" defTabSz="609539"/>
              <a:r>
                <a:rPr lang="en-US" sz="1600" cap="all">
                  <a:solidFill>
                    <a:srgbClr val="FFFFFF"/>
                  </a:solidFill>
                  <a:latin typeface="Arial"/>
                  <a:ea typeface="Open Sans" panose="020B0606030504020204" pitchFamily="34" charset="0"/>
                  <a:cs typeface="Calibri" panose="020F0502020204030204" pitchFamily="34" charset="0"/>
                </a:rPr>
                <a:t>Food processing</a:t>
              </a:r>
            </a:p>
          </p:txBody>
        </p:sp>
      </p:grpSp>
      <p:sp>
        <p:nvSpPr>
          <p:cNvPr id="77" name="T: F&amp;E Quote">
            <a:extLst>
              <a:ext uri="{FF2B5EF4-FFF2-40B4-BE49-F238E27FC236}">
                <a16:creationId xmlns:a16="http://schemas.microsoft.com/office/drawing/2014/main" id="{4B436CC4-50F3-47AA-BE68-BFF2D32B09E0}"/>
              </a:ext>
            </a:extLst>
          </p:cNvPr>
          <p:cNvSpPr txBox="1">
            <a:spLocks noChangeArrowheads="1"/>
          </p:cNvSpPr>
          <p:nvPr>
            <p:custDataLst>
              <p:tags r:id="rId12"/>
            </p:custDataLst>
          </p:nvPr>
        </p:nvSpPr>
        <p:spPr bwMode="auto">
          <a:xfrm>
            <a:off x="8090736" y="240128"/>
            <a:ext cx="1712079" cy="219217"/>
          </a:xfrm>
          <a:prstGeom prst="rect">
            <a:avLst/>
          </a:prstGeom>
          <a:noFill/>
          <a:ln w="9525">
            <a:noFill/>
            <a:miter lim="800000"/>
            <a:headEnd/>
            <a:tailEnd/>
          </a:ln>
        </p:spPr>
        <p:txBody>
          <a:bodyPr lIns="0" tIns="0" rIns="0" bIns="0" anchor="ctr" anchorCtr="0">
            <a:noAutofit/>
          </a:bodyPr>
          <a:lstStyle/>
          <a:p>
            <a:pPr algn="ctr" defTabSz="609316">
              <a:lnSpc>
                <a:spcPct val="105000"/>
              </a:lnSpc>
              <a:defRPr/>
            </a:pPr>
            <a:r>
              <a:rPr lang="en-US" sz="1200" b="1" dirty="0">
                <a:solidFill>
                  <a:srgbClr val="004388"/>
                </a:solidFill>
                <a:latin typeface="Arial"/>
              </a:rPr>
              <a:t>R&amp;D Spending</a:t>
            </a:r>
          </a:p>
        </p:txBody>
      </p:sp>
      <p:pic>
        <p:nvPicPr>
          <p:cNvPr id="78" name="G: F&amp;E">
            <a:extLst>
              <a:ext uri="{FF2B5EF4-FFF2-40B4-BE49-F238E27FC236}">
                <a16:creationId xmlns:a16="http://schemas.microsoft.com/office/drawing/2014/main" id="{F4FF1B0D-275F-42E3-B3E6-EC8DBC100F5A}"/>
              </a:ext>
            </a:extLst>
          </p:cNvPr>
          <p:cNvPicPr>
            <a:picLocks noChangeAspect="1"/>
          </p:cNvPicPr>
          <p:nvPr/>
        </p:nvPicPr>
        <p:blipFill>
          <a:blip r:embed="rId27"/>
          <a:stretch>
            <a:fillRect/>
          </a:stretch>
        </p:blipFill>
        <p:spPr>
          <a:xfrm>
            <a:off x="8615625" y="619114"/>
            <a:ext cx="612989" cy="867828"/>
          </a:xfrm>
          <a:prstGeom prst="rect">
            <a:avLst/>
          </a:prstGeom>
        </p:spPr>
      </p:pic>
      <p:sp>
        <p:nvSpPr>
          <p:cNvPr id="79" name="T: Zahl F&amp;E">
            <a:extLst>
              <a:ext uri="{FF2B5EF4-FFF2-40B4-BE49-F238E27FC236}">
                <a16:creationId xmlns:a16="http://schemas.microsoft.com/office/drawing/2014/main" id="{8306F861-B2E2-43C2-9A6C-CC5F467C1F35}"/>
              </a:ext>
            </a:extLst>
          </p:cNvPr>
          <p:cNvSpPr txBox="1">
            <a:spLocks noChangeArrowheads="1"/>
          </p:cNvSpPr>
          <p:nvPr>
            <p:custDataLst>
              <p:tags r:id="rId13"/>
            </p:custDataLst>
          </p:nvPr>
        </p:nvSpPr>
        <p:spPr bwMode="auto">
          <a:xfrm>
            <a:off x="8422790" y="878107"/>
            <a:ext cx="1047975" cy="324283"/>
          </a:xfrm>
          <a:prstGeom prst="rect">
            <a:avLst/>
          </a:prstGeom>
          <a:noFill/>
          <a:ln w="9525">
            <a:noFill/>
            <a:miter lim="800000"/>
            <a:headEnd/>
            <a:tailEnd/>
          </a:ln>
        </p:spPr>
        <p:txBody>
          <a:bodyPr lIns="0" tIns="0" rIns="0" bIns="0" anchor="ctr" anchorCtr="0">
            <a:noAutofit/>
          </a:bodyPr>
          <a:lstStyle/>
          <a:p>
            <a:pPr algn="ctr" defTabSz="609316">
              <a:lnSpc>
                <a:spcPct val="105000"/>
              </a:lnSpc>
              <a:defRPr/>
            </a:pPr>
            <a:r>
              <a:rPr lang="en-US" sz="1999" b="1" dirty="0">
                <a:solidFill>
                  <a:srgbClr val="004388"/>
                </a:solidFill>
                <a:latin typeface="Arial"/>
              </a:rPr>
              <a:t>4,9 % </a:t>
            </a:r>
          </a:p>
        </p:txBody>
      </p:sp>
      <p:sp>
        <p:nvSpPr>
          <p:cNvPr id="80" name="T: of sales">
            <a:extLst>
              <a:ext uri="{FF2B5EF4-FFF2-40B4-BE49-F238E27FC236}">
                <a16:creationId xmlns:a16="http://schemas.microsoft.com/office/drawing/2014/main" id="{9BED9C77-62EB-4C04-AF07-EC04ACA26D40}"/>
              </a:ext>
            </a:extLst>
          </p:cNvPr>
          <p:cNvSpPr txBox="1">
            <a:spLocks noChangeArrowheads="1"/>
          </p:cNvSpPr>
          <p:nvPr>
            <p:custDataLst>
              <p:tags r:id="rId14"/>
            </p:custDataLst>
          </p:nvPr>
        </p:nvSpPr>
        <p:spPr bwMode="auto">
          <a:xfrm>
            <a:off x="8454532" y="1589677"/>
            <a:ext cx="882213" cy="219217"/>
          </a:xfrm>
          <a:prstGeom prst="rect">
            <a:avLst/>
          </a:prstGeom>
          <a:noFill/>
          <a:ln w="9525">
            <a:noFill/>
            <a:miter lim="800000"/>
            <a:headEnd/>
            <a:tailEnd/>
          </a:ln>
        </p:spPr>
        <p:txBody>
          <a:bodyPr lIns="0" tIns="0" rIns="0" bIns="0" anchor="ctr" anchorCtr="0">
            <a:noAutofit/>
          </a:bodyPr>
          <a:lstStyle/>
          <a:p>
            <a:pPr algn="ctr" defTabSz="609316">
              <a:lnSpc>
                <a:spcPct val="105000"/>
              </a:lnSpc>
              <a:defRPr/>
            </a:pPr>
            <a:r>
              <a:rPr lang="en-US" sz="1000" b="1">
                <a:solidFill>
                  <a:srgbClr val="D1DCE3"/>
                </a:solidFill>
                <a:latin typeface="Arial"/>
              </a:rPr>
              <a:t>of sales</a:t>
            </a:r>
          </a:p>
        </p:txBody>
      </p:sp>
      <p:pic>
        <p:nvPicPr>
          <p:cNvPr id="81" name="Picture 80">
            <a:extLst>
              <a:ext uri="{FF2B5EF4-FFF2-40B4-BE49-F238E27FC236}">
                <a16:creationId xmlns:a16="http://schemas.microsoft.com/office/drawing/2014/main" id="{9F33AEC1-C709-46EC-BC98-C3397BAB3DDB}"/>
              </a:ext>
            </a:extLst>
          </p:cNvPr>
          <p:cNvPicPr>
            <a:picLocks noChangeAspect="1"/>
          </p:cNvPicPr>
          <p:nvPr/>
        </p:nvPicPr>
        <p:blipFill>
          <a:blip r:embed="rId28"/>
          <a:stretch>
            <a:fillRect/>
          </a:stretch>
        </p:blipFill>
        <p:spPr>
          <a:xfrm>
            <a:off x="-206204" y="3449740"/>
            <a:ext cx="3523794" cy="2203895"/>
          </a:xfrm>
          <a:prstGeom prst="rect">
            <a:avLst/>
          </a:prstGeom>
        </p:spPr>
      </p:pic>
      <p:pic>
        <p:nvPicPr>
          <p:cNvPr id="82" name="Picture 81">
            <a:extLst>
              <a:ext uri="{FF2B5EF4-FFF2-40B4-BE49-F238E27FC236}">
                <a16:creationId xmlns:a16="http://schemas.microsoft.com/office/drawing/2014/main" id="{28547B70-59AC-473B-A15B-C710CCEEDE13}"/>
              </a:ext>
            </a:extLst>
          </p:cNvPr>
          <p:cNvPicPr>
            <a:picLocks noChangeAspect="1"/>
          </p:cNvPicPr>
          <p:nvPr/>
        </p:nvPicPr>
        <p:blipFill>
          <a:blip r:embed="rId29"/>
          <a:stretch>
            <a:fillRect/>
          </a:stretch>
        </p:blipFill>
        <p:spPr>
          <a:xfrm>
            <a:off x="3454921" y="2548085"/>
            <a:ext cx="8161728" cy="3436918"/>
          </a:xfrm>
          <a:prstGeom prst="rect">
            <a:avLst/>
          </a:prstGeom>
        </p:spPr>
      </p:pic>
      <p:sp>
        <p:nvSpPr>
          <p:cNvPr id="83" name="Rectangle 82">
            <a:extLst>
              <a:ext uri="{FF2B5EF4-FFF2-40B4-BE49-F238E27FC236}">
                <a16:creationId xmlns:a16="http://schemas.microsoft.com/office/drawing/2014/main" id="{E45E0845-D30F-49B2-8A98-0C2DCD554881}"/>
              </a:ext>
            </a:extLst>
          </p:cNvPr>
          <p:cNvSpPr/>
          <p:nvPr/>
        </p:nvSpPr>
        <p:spPr bwMode="gray">
          <a:xfrm>
            <a:off x="5491844" y="3729140"/>
            <a:ext cx="1953986" cy="376993"/>
          </a:xfrm>
          <a:prstGeom prst="rect">
            <a:avLst/>
          </a:prstGeom>
          <a:noFill/>
          <a:ln w="38100">
            <a:solidFill>
              <a:srgbClr val="F7A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200" dirty="0" err="1">
              <a:solidFill>
                <a:schemeClr val="tx1"/>
              </a:solidFill>
            </a:endParaRPr>
          </a:p>
        </p:txBody>
      </p:sp>
      <p:sp>
        <p:nvSpPr>
          <p:cNvPr id="84" name="Rectangle 83">
            <a:extLst>
              <a:ext uri="{FF2B5EF4-FFF2-40B4-BE49-F238E27FC236}">
                <a16:creationId xmlns:a16="http://schemas.microsoft.com/office/drawing/2014/main" id="{E547C86E-9ED9-4D0E-8678-F8608062767A}"/>
              </a:ext>
            </a:extLst>
          </p:cNvPr>
          <p:cNvSpPr/>
          <p:nvPr/>
        </p:nvSpPr>
        <p:spPr bwMode="gray">
          <a:xfrm>
            <a:off x="5491844" y="4487990"/>
            <a:ext cx="1953986" cy="325764"/>
          </a:xfrm>
          <a:prstGeom prst="rect">
            <a:avLst/>
          </a:prstGeom>
          <a:noFill/>
          <a:ln w="38100">
            <a:solidFill>
              <a:srgbClr val="F7A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20000"/>
              </a:lnSpc>
            </a:pPr>
            <a:endParaRPr lang="en-US" sz="1200" dirty="0" err="1">
              <a:solidFill>
                <a:schemeClr val="tx1"/>
              </a:solidFill>
            </a:endParaRPr>
          </a:p>
        </p:txBody>
      </p:sp>
    </p:spTree>
    <p:extLst>
      <p:ext uri="{BB962C8B-B14F-4D97-AF65-F5344CB8AC3E}">
        <p14:creationId xmlns:p14="http://schemas.microsoft.com/office/powerpoint/2010/main" val="38020449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CBCB92B-4763-464F-B968-B3C51A79C95E}"/>
              </a:ext>
            </a:extLst>
          </p:cNvPr>
          <p:cNvSpPr>
            <a:spLocks noGrp="1"/>
          </p:cNvSpPr>
          <p:nvPr>
            <p:ph type="sldNum" sz="quarter" idx="16"/>
          </p:nvPr>
        </p:nvSpPr>
        <p:spPr/>
        <p:txBody>
          <a:bodyPr/>
          <a:lstStyle/>
          <a:p>
            <a:r>
              <a:rPr lang="en-US" noProof="0"/>
              <a:t>Page </a:t>
            </a:r>
            <a:fld id="{CDF7CB8E-0C0F-4AA4-8EC3-057F9A13ED4A}" type="slidenum">
              <a:rPr lang="en-US" noProof="0" smtClean="0"/>
              <a:pPr/>
              <a:t>4</a:t>
            </a:fld>
            <a:endParaRPr lang="en-US" noProof="0" dirty="0"/>
          </a:p>
        </p:txBody>
      </p:sp>
      <p:sp>
        <p:nvSpPr>
          <p:cNvPr id="6" name="Title 5">
            <a:extLst>
              <a:ext uri="{FF2B5EF4-FFF2-40B4-BE49-F238E27FC236}">
                <a16:creationId xmlns:a16="http://schemas.microsoft.com/office/drawing/2014/main" id="{9F14CA0F-C7FA-4E73-9DB7-48D85742F0A7}"/>
              </a:ext>
            </a:extLst>
          </p:cNvPr>
          <p:cNvSpPr>
            <a:spLocks noGrp="1"/>
          </p:cNvSpPr>
          <p:nvPr>
            <p:ph type="title"/>
          </p:nvPr>
        </p:nvSpPr>
        <p:spPr>
          <a:xfrm>
            <a:off x="481013" y="297446"/>
            <a:ext cx="11233149" cy="576000"/>
          </a:xfrm>
        </p:spPr>
        <p:txBody>
          <a:bodyPr/>
          <a:lstStyle/>
          <a:p>
            <a:r>
              <a:rPr lang="en-US" altLang="zh-CN" dirty="0">
                <a:solidFill>
                  <a:srgbClr val="004388"/>
                </a:solidFill>
              </a:rPr>
              <a:t>Freudenberg apparel </a:t>
            </a:r>
            <a:r>
              <a:rPr lang="en-US" altLang="zh-CN" dirty="0" err="1">
                <a:solidFill>
                  <a:srgbClr val="004388"/>
                </a:solidFill>
              </a:rPr>
              <a:t>asia</a:t>
            </a:r>
            <a:endParaRPr lang="zh-CN" altLang="en-US" dirty="0">
              <a:solidFill>
                <a:srgbClr val="004388"/>
              </a:solidFill>
            </a:endParaRPr>
          </a:p>
        </p:txBody>
      </p:sp>
      <p:sp>
        <p:nvSpPr>
          <p:cNvPr id="7" name="Rectangle 2">
            <a:extLst>
              <a:ext uri="{FF2B5EF4-FFF2-40B4-BE49-F238E27FC236}">
                <a16:creationId xmlns:a16="http://schemas.microsoft.com/office/drawing/2014/main" id="{76C73CA3-51B4-4C92-811C-FE98BAAC37AB}"/>
              </a:ext>
            </a:extLst>
          </p:cNvPr>
          <p:cNvSpPr>
            <a:spLocks noChangeArrowheads="1"/>
          </p:cNvSpPr>
          <p:nvPr/>
        </p:nvSpPr>
        <p:spPr bwMode="auto">
          <a:xfrm>
            <a:off x="9005789" y="6036317"/>
            <a:ext cx="1174716" cy="88898"/>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09539"/>
            <a:endParaRPr lang="en-US" sz="2399">
              <a:solidFill>
                <a:srgbClr val="000000"/>
              </a:solidFill>
            </a:endParaRPr>
          </a:p>
        </p:txBody>
      </p:sp>
      <p:sp>
        <p:nvSpPr>
          <p:cNvPr id="8" name="Freeform 8">
            <a:extLst>
              <a:ext uri="{FF2B5EF4-FFF2-40B4-BE49-F238E27FC236}">
                <a16:creationId xmlns:a16="http://schemas.microsoft.com/office/drawing/2014/main" id="{4CC83CD1-8552-4D5B-842F-5591904410E0}"/>
              </a:ext>
            </a:extLst>
          </p:cNvPr>
          <p:cNvSpPr>
            <a:spLocks/>
          </p:cNvSpPr>
          <p:nvPr>
            <p:custDataLst>
              <p:tags r:id="rId1"/>
            </p:custDataLst>
          </p:nvPr>
        </p:nvSpPr>
        <p:spPr bwMode="auto">
          <a:xfrm>
            <a:off x="6455545" y="1041090"/>
            <a:ext cx="2960601" cy="1643015"/>
          </a:xfrm>
          <a:custGeom>
            <a:avLst/>
            <a:gdLst>
              <a:gd name="T0" fmla="*/ 1827 w 1846"/>
              <a:gd name="T1" fmla="*/ 95 h 1024"/>
              <a:gd name="T2" fmla="*/ 1778 w 1846"/>
              <a:gd name="T3" fmla="*/ 112 h 1024"/>
              <a:gd name="T4" fmla="*/ 1715 w 1846"/>
              <a:gd name="T5" fmla="*/ 156 h 1024"/>
              <a:gd name="T6" fmla="*/ 1666 w 1846"/>
              <a:gd name="T7" fmla="*/ 205 h 1024"/>
              <a:gd name="T8" fmla="*/ 1623 w 1846"/>
              <a:gd name="T9" fmla="*/ 232 h 1024"/>
              <a:gd name="T10" fmla="*/ 1612 w 1846"/>
              <a:gd name="T11" fmla="*/ 278 h 1024"/>
              <a:gd name="T12" fmla="*/ 1558 w 1846"/>
              <a:gd name="T13" fmla="*/ 355 h 1024"/>
              <a:gd name="T14" fmla="*/ 1470 w 1846"/>
              <a:gd name="T15" fmla="*/ 371 h 1024"/>
              <a:gd name="T16" fmla="*/ 1366 w 1846"/>
              <a:gd name="T17" fmla="*/ 419 h 1024"/>
              <a:gd name="T18" fmla="*/ 1251 w 1846"/>
              <a:gd name="T19" fmla="*/ 417 h 1024"/>
              <a:gd name="T20" fmla="*/ 1148 w 1846"/>
              <a:gd name="T21" fmla="*/ 392 h 1024"/>
              <a:gd name="T22" fmla="*/ 1077 w 1846"/>
              <a:gd name="T23" fmla="*/ 407 h 1024"/>
              <a:gd name="T24" fmla="*/ 996 w 1846"/>
              <a:gd name="T25" fmla="*/ 378 h 1024"/>
              <a:gd name="T26" fmla="*/ 961 w 1846"/>
              <a:gd name="T27" fmla="*/ 317 h 1024"/>
              <a:gd name="T28" fmla="*/ 904 w 1846"/>
              <a:gd name="T29" fmla="*/ 287 h 1024"/>
              <a:gd name="T30" fmla="*/ 776 w 1846"/>
              <a:gd name="T31" fmla="*/ 257 h 1024"/>
              <a:gd name="T32" fmla="*/ 788 w 1846"/>
              <a:gd name="T33" fmla="*/ 186 h 1024"/>
              <a:gd name="T34" fmla="*/ 776 w 1846"/>
              <a:gd name="T35" fmla="*/ 132 h 1024"/>
              <a:gd name="T36" fmla="*/ 705 w 1846"/>
              <a:gd name="T37" fmla="*/ 74 h 1024"/>
              <a:gd name="T38" fmla="*/ 655 w 1846"/>
              <a:gd name="T39" fmla="*/ 2 h 1024"/>
              <a:gd name="T40" fmla="*/ 612 w 1846"/>
              <a:gd name="T41" fmla="*/ 34 h 1024"/>
              <a:gd name="T42" fmla="*/ 567 w 1846"/>
              <a:gd name="T43" fmla="*/ 76 h 1024"/>
              <a:gd name="T44" fmla="*/ 566 w 1846"/>
              <a:gd name="T45" fmla="*/ 105 h 1024"/>
              <a:gd name="T46" fmla="*/ 505 w 1846"/>
              <a:gd name="T47" fmla="*/ 111 h 1024"/>
              <a:gd name="T48" fmla="*/ 446 w 1846"/>
              <a:gd name="T49" fmla="*/ 138 h 1024"/>
              <a:gd name="T50" fmla="*/ 427 w 1846"/>
              <a:gd name="T51" fmla="*/ 185 h 1024"/>
              <a:gd name="T52" fmla="*/ 326 w 1846"/>
              <a:gd name="T53" fmla="*/ 199 h 1024"/>
              <a:gd name="T54" fmla="*/ 351 w 1846"/>
              <a:gd name="T55" fmla="*/ 262 h 1024"/>
              <a:gd name="T56" fmla="*/ 332 w 1846"/>
              <a:gd name="T57" fmla="*/ 313 h 1024"/>
              <a:gd name="T58" fmla="*/ 328 w 1846"/>
              <a:gd name="T59" fmla="*/ 355 h 1024"/>
              <a:gd name="T60" fmla="*/ 327 w 1846"/>
              <a:gd name="T61" fmla="*/ 379 h 1024"/>
              <a:gd name="T62" fmla="*/ 227 w 1846"/>
              <a:gd name="T63" fmla="*/ 380 h 1024"/>
              <a:gd name="T64" fmla="*/ 194 w 1846"/>
              <a:gd name="T65" fmla="*/ 405 h 1024"/>
              <a:gd name="T66" fmla="*/ 153 w 1846"/>
              <a:gd name="T67" fmla="*/ 423 h 1024"/>
              <a:gd name="T68" fmla="*/ 121 w 1846"/>
              <a:gd name="T69" fmla="*/ 443 h 1024"/>
              <a:gd name="T70" fmla="*/ 64 w 1846"/>
              <a:gd name="T71" fmla="*/ 429 h 1024"/>
              <a:gd name="T72" fmla="*/ 19 w 1846"/>
              <a:gd name="T73" fmla="*/ 474 h 1024"/>
              <a:gd name="T74" fmla="*/ 17 w 1846"/>
              <a:gd name="T75" fmla="*/ 523 h 1024"/>
              <a:gd name="T76" fmla="*/ 48 w 1846"/>
              <a:gd name="T77" fmla="*/ 540 h 1024"/>
              <a:gd name="T78" fmla="*/ 20 w 1846"/>
              <a:gd name="T79" fmla="*/ 586 h 1024"/>
              <a:gd name="T80" fmla="*/ 26 w 1846"/>
              <a:gd name="T81" fmla="*/ 634 h 1024"/>
              <a:gd name="T82" fmla="*/ 48 w 1846"/>
              <a:gd name="T83" fmla="*/ 685 h 1024"/>
              <a:gd name="T84" fmla="*/ 94 w 1846"/>
              <a:gd name="T85" fmla="*/ 698 h 1024"/>
              <a:gd name="T86" fmla="*/ 132 w 1846"/>
              <a:gd name="T87" fmla="*/ 734 h 1024"/>
              <a:gd name="T88" fmla="*/ 196 w 1846"/>
              <a:gd name="T89" fmla="*/ 785 h 1024"/>
              <a:gd name="T90" fmla="*/ 207 w 1846"/>
              <a:gd name="T91" fmla="*/ 870 h 1024"/>
              <a:gd name="T92" fmla="*/ 193 w 1846"/>
              <a:gd name="T93" fmla="*/ 915 h 1024"/>
              <a:gd name="T94" fmla="*/ 148 w 1846"/>
              <a:gd name="T95" fmla="*/ 911 h 1024"/>
              <a:gd name="T96" fmla="*/ 169 w 1846"/>
              <a:gd name="T97" fmla="*/ 960 h 1024"/>
              <a:gd name="T98" fmla="*/ 238 w 1846"/>
              <a:gd name="T99" fmla="*/ 1010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46" h="1024">
                <a:moveTo>
                  <a:pt x="1690" y="486"/>
                </a:moveTo>
                <a:lnTo>
                  <a:pt x="1846" y="73"/>
                </a:lnTo>
                <a:lnTo>
                  <a:pt x="1835" y="84"/>
                </a:lnTo>
                <a:lnTo>
                  <a:pt x="1827" y="95"/>
                </a:lnTo>
                <a:lnTo>
                  <a:pt x="1816" y="98"/>
                </a:lnTo>
                <a:lnTo>
                  <a:pt x="1804" y="100"/>
                </a:lnTo>
                <a:lnTo>
                  <a:pt x="1791" y="103"/>
                </a:lnTo>
                <a:lnTo>
                  <a:pt x="1778" y="112"/>
                </a:lnTo>
                <a:lnTo>
                  <a:pt x="1769" y="124"/>
                </a:lnTo>
                <a:lnTo>
                  <a:pt x="1755" y="135"/>
                </a:lnTo>
                <a:lnTo>
                  <a:pt x="1727" y="146"/>
                </a:lnTo>
                <a:lnTo>
                  <a:pt x="1715" y="156"/>
                </a:lnTo>
                <a:lnTo>
                  <a:pt x="1704" y="167"/>
                </a:lnTo>
                <a:lnTo>
                  <a:pt x="1696" y="178"/>
                </a:lnTo>
                <a:lnTo>
                  <a:pt x="1678" y="199"/>
                </a:lnTo>
                <a:lnTo>
                  <a:pt x="1666" y="205"/>
                </a:lnTo>
                <a:lnTo>
                  <a:pt x="1645" y="204"/>
                </a:lnTo>
                <a:lnTo>
                  <a:pt x="1625" y="209"/>
                </a:lnTo>
                <a:lnTo>
                  <a:pt x="1621" y="218"/>
                </a:lnTo>
                <a:lnTo>
                  <a:pt x="1623" y="232"/>
                </a:lnTo>
                <a:lnTo>
                  <a:pt x="1635" y="246"/>
                </a:lnTo>
                <a:lnTo>
                  <a:pt x="1633" y="257"/>
                </a:lnTo>
                <a:lnTo>
                  <a:pt x="1619" y="268"/>
                </a:lnTo>
                <a:lnTo>
                  <a:pt x="1612" y="278"/>
                </a:lnTo>
                <a:lnTo>
                  <a:pt x="1604" y="287"/>
                </a:lnTo>
                <a:lnTo>
                  <a:pt x="1590" y="314"/>
                </a:lnTo>
                <a:lnTo>
                  <a:pt x="1579" y="331"/>
                </a:lnTo>
                <a:lnTo>
                  <a:pt x="1558" y="355"/>
                </a:lnTo>
                <a:lnTo>
                  <a:pt x="1547" y="362"/>
                </a:lnTo>
                <a:lnTo>
                  <a:pt x="1526" y="365"/>
                </a:lnTo>
                <a:lnTo>
                  <a:pt x="1484" y="368"/>
                </a:lnTo>
                <a:lnTo>
                  <a:pt x="1470" y="371"/>
                </a:lnTo>
                <a:lnTo>
                  <a:pt x="1446" y="383"/>
                </a:lnTo>
                <a:lnTo>
                  <a:pt x="1426" y="396"/>
                </a:lnTo>
                <a:lnTo>
                  <a:pt x="1399" y="409"/>
                </a:lnTo>
                <a:lnTo>
                  <a:pt x="1366" y="419"/>
                </a:lnTo>
                <a:lnTo>
                  <a:pt x="1343" y="424"/>
                </a:lnTo>
                <a:lnTo>
                  <a:pt x="1309" y="427"/>
                </a:lnTo>
                <a:lnTo>
                  <a:pt x="1264" y="421"/>
                </a:lnTo>
                <a:lnTo>
                  <a:pt x="1251" y="417"/>
                </a:lnTo>
                <a:lnTo>
                  <a:pt x="1235" y="409"/>
                </a:lnTo>
                <a:lnTo>
                  <a:pt x="1206" y="402"/>
                </a:lnTo>
                <a:lnTo>
                  <a:pt x="1192" y="399"/>
                </a:lnTo>
                <a:lnTo>
                  <a:pt x="1148" y="392"/>
                </a:lnTo>
                <a:lnTo>
                  <a:pt x="1133" y="392"/>
                </a:lnTo>
                <a:lnTo>
                  <a:pt x="1117" y="394"/>
                </a:lnTo>
                <a:lnTo>
                  <a:pt x="1096" y="404"/>
                </a:lnTo>
                <a:lnTo>
                  <a:pt x="1077" y="407"/>
                </a:lnTo>
                <a:lnTo>
                  <a:pt x="1064" y="405"/>
                </a:lnTo>
                <a:lnTo>
                  <a:pt x="1031" y="398"/>
                </a:lnTo>
                <a:lnTo>
                  <a:pt x="1007" y="392"/>
                </a:lnTo>
                <a:lnTo>
                  <a:pt x="996" y="378"/>
                </a:lnTo>
                <a:lnTo>
                  <a:pt x="988" y="364"/>
                </a:lnTo>
                <a:lnTo>
                  <a:pt x="978" y="342"/>
                </a:lnTo>
                <a:lnTo>
                  <a:pt x="970" y="325"/>
                </a:lnTo>
                <a:lnTo>
                  <a:pt x="961" y="317"/>
                </a:lnTo>
                <a:lnTo>
                  <a:pt x="947" y="310"/>
                </a:lnTo>
                <a:lnTo>
                  <a:pt x="929" y="305"/>
                </a:lnTo>
                <a:lnTo>
                  <a:pt x="920" y="298"/>
                </a:lnTo>
                <a:lnTo>
                  <a:pt x="904" y="287"/>
                </a:lnTo>
                <a:lnTo>
                  <a:pt x="888" y="274"/>
                </a:lnTo>
                <a:lnTo>
                  <a:pt x="875" y="264"/>
                </a:lnTo>
                <a:lnTo>
                  <a:pt x="860" y="261"/>
                </a:lnTo>
                <a:lnTo>
                  <a:pt x="776" y="257"/>
                </a:lnTo>
                <a:lnTo>
                  <a:pt x="774" y="242"/>
                </a:lnTo>
                <a:lnTo>
                  <a:pt x="775" y="230"/>
                </a:lnTo>
                <a:lnTo>
                  <a:pt x="779" y="207"/>
                </a:lnTo>
                <a:lnTo>
                  <a:pt x="788" y="186"/>
                </a:lnTo>
                <a:lnTo>
                  <a:pt x="790" y="175"/>
                </a:lnTo>
                <a:lnTo>
                  <a:pt x="790" y="161"/>
                </a:lnTo>
                <a:lnTo>
                  <a:pt x="788" y="148"/>
                </a:lnTo>
                <a:lnTo>
                  <a:pt x="776" y="132"/>
                </a:lnTo>
                <a:lnTo>
                  <a:pt x="752" y="111"/>
                </a:lnTo>
                <a:lnTo>
                  <a:pt x="736" y="100"/>
                </a:lnTo>
                <a:lnTo>
                  <a:pt x="714" y="81"/>
                </a:lnTo>
                <a:lnTo>
                  <a:pt x="705" y="74"/>
                </a:lnTo>
                <a:lnTo>
                  <a:pt x="695" y="55"/>
                </a:lnTo>
                <a:lnTo>
                  <a:pt x="672" y="0"/>
                </a:lnTo>
                <a:lnTo>
                  <a:pt x="671" y="0"/>
                </a:lnTo>
                <a:lnTo>
                  <a:pt x="655" y="2"/>
                </a:lnTo>
                <a:lnTo>
                  <a:pt x="644" y="4"/>
                </a:lnTo>
                <a:lnTo>
                  <a:pt x="631" y="12"/>
                </a:lnTo>
                <a:lnTo>
                  <a:pt x="617" y="22"/>
                </a:lnTo>
                <a:lnTo>
                  <a:pt x="612" y="34"/>
                </a:lnTo>
                <a:lnTo>
                  <a:pt x="606" y="40"/>
                </a:lnTo>
                <a:lnTo>
                  <a:pt x="578" y="42"/>
                </a:lnTo>
                <a:lnTo>
                  <a:pt x="568" y="52"/>
                </a:lnTo>
                <a:lnTo>
                  <a:pt x="567" y="76"/>
                </a:lnTo>
                <a:lnTo>
                  <a:pt x="572" y="87"/>
                </a:lnTo>
                <a:lnTo>
                  <a:pt x="573" y="94"/>
                </a:lnTo>
                <a:lnTo>
                  <a:pt x="571" y="99"/>
                </a:lnTo>
                <a:lnTo>
                  <a:pt x="566" y="105"/>
                </a:lnTo>
                <a:lnTo>
                  <a:pt x="554" y="106"/>
                </a:lnTo>
                <a:lnTo>
                  <a:pt x="543" y="112"/>
                </a:lnTo>
                <a:lnTo>
                  <a:pt x="518" y="114"/>
                </a:lnTo>
                <a:lnTo>
                  <a:pt x="505" y="111"/>
                </a:lnTo>
                <a:lnTo>
                  <a:pt x="479" y="107"/>
                </a:lnTo>
                <a:lnTo>
                  <a:pt x="461" y="103"/>
                </a:lnTo>
                <a:lnTo>
                  <a:pt x="447" y="114"/>
                </a:lnTo>
                <a:lnTo>
                  <a:pt x="446" y="138"/>
                </a:lnTo>
                <a:lnTo>
                  <a:pt x="438" y="149"/>
                </a:lnTo>
                <a:lnTo>
                  <a:pt x="432" y="160"/>
                </a:lnTo>
                <a:lnTo>
                  <a:pt x="431" y="182"/>
                </a:lnTo>
                <a:lnTo>
                  <a:pt x="427" y="185"/>
                </a:lnTo>
                <a:lnTo>
                  <a:pt x="411" y="196"/>
                </a:lnTo>
                <a:lnTo>
                  <a:pt x="365" y="195"/>
                </a:lnTo>
                <a:lnTo>
                  <a:pt x="342" y="198"/>
                </a:lnTo>
                <a:lnTo>
                  <a:pt x="326" y="199"/>
                </a:lnTo>
                <a:lnTo>
                  <a:pt x="320" y="204"/>
                </a:lnTo>
                <a:lnTo>
                  <a:pt x="320" y="217"/>
                </a:lnTo>
                <a:lnTo>
                  <a:pt x="327" y="230"/>
                </a:lnTo>
                <a:lnTo>
                  <a:pt x="351" y="262"/>
                </a:lnTo>
                <a:lnTo>
                  <a:pt x="358" y="279"/>
                </a:lnTo>
                <a:lnTo>
                  <a:pt x="353" y="295"/>
                </a:lnTo>
                <a:lnTo>
                  <a:pt x="341" y="307"/>
                </a:lnTo>
                <a:lnTo>
                  <a:pt x="332" y="313"/>
                </a:lnTo>
                <a:lnTo>
                  <a:pt x="324" y="320"/>
                </a:lnTo>
                <a:lnTo>
                  <a:pt x="323" y="334"/>
                </a:lnTo>
                <a:lnTo>
                  <a:pt x="322" y="346"/>
                </a:lnTo>
                <a:lnTo>
                  <a:pt x="328" y="355"/>
                </a:lnTo>
                <a:lnTo>
                  <a:pt x="345" y="369"/>
                </a:lnTo>
                <a:lnTo>
                  <a:pt x="345" y="371"/>
                </a:lnTo>
                <a:lnTo>
                  <a:pt x="338" y="376"/>
                </a:lnTo>
                <a:lnTo>
                  <a:pt x="327" y="379"/>
                </a:lnTo>
                <a:lnTo>
                  <a:pt x="314" y="380"/>
                </a:lnTo>
                <a:lnTo>
                  <a:pt x="298" y="383"/>
                </a:lnTo>
                <a:lnTo>
                  <a:pt x="245" y="378"/>
                </a:lnTo>
                <a:lnTo>
                  <a:pt x="227" y="380"/>
                </a:lnTo>
                <a:lnTo>
                  <a:pt x="220" y="385"/>
                </a:lnTo>
                <a:lnTo>
                  <a:pt x="214" y="396"/>
                </a:lnTo>
                <a:lnTo>
                  <a:pt x="209" y="400"/>
                </a:lnTo>
                <a:lnTo>
                  <a:pt x="194" y="405"/>
                </a:lnTo>
                <a:lnTo>
                  <a:pt x="184" y="411"/>
                </a:lnTo>
                <a:lnTo>
                  <a:pt x="164" y="407"/>
                </a:lnTo>
                <a:lnTo>
                  <a:pt x="153" y="418"/>
                </a:lnTo>
                <a:lnTo>
                  <a:pt x="153" y="423"/>
                </a:lnTo>
                <a:lnTo>
                  <a:pt x="147" y="435"/>
                </a:lnTo>
                <a:lnTo>
                  <a:pt x="140" y="439"/>
                </a:lnTo>
                <a:lnTo>
                  <a:pt x="131" y="443"/>
                </a:lnTo>
                <a:lnTo>
                  <a:pt x="121" y="443"/>
                </a:lnTo>
                <a:lnTo>
                  <a:pt x="108" y="442"/>
                </a:lnTo>
                <a:lnTo>
                  <a:pt x="96" y="437"/>
                </a:lnTo>
                <a:lnTo>
                  <a:pt x="85" y="433"/>
                </a:lnTo>
                <a:lnTo>
                  <a:pt x="64" y="429"/>
                </a:lnTo>
                <a:lnTo>
                  <a:pt x="36" y="439"/>
                </a:lnTo>
                <a:lnTo>
                  <a:pt x="25" y="449"/>
                </a:lnTo>
                <a:lnTo>
                  <a:pt x="21" y="461"/>
                </a:lnTo>
                <a:lnTo>
                  <a:pt x="19" y="474"/>
                </a:lnTo>
                <a:lnTo>
                  <a:pt x="16" y="484"/>
                </a:lnTo>
                <a:lnTo>
                  <a:pt x="4" y="503"/>
                </a:lnTo>
                <a:lnTo>
                  <a:pt x="7" y="509"/>
                </a:lnTo>
                <a:lnTo>
                  <a:pt x="17" y="523"/>
                </a:lnTo>
                <a:lnTo>
                  <a:pt x="30" y="523"/>
                </a:lnTo>
                <a:lnTo>
                  <a:pt x="42" y="527"/>
                </a:lnTo>
                <a:lnTo>
                  <a:pt x="46" y="529"/>
                </a:lnTo>
                <a:lnTo>
                  <a:pt x="48" y="540"/>
                </a:lnTo>
                <a:lnTo>
                  <a:pt x="47" y="553"/>
                </a:lnTo>
                <a:lnTo>
                  <a:pt x="44" y="565"/>
                </a:lnTo>
                <a:lnTo>
                  <a:pt x="37" y="575"/>
                </a:lnTo>
                <a:lnTo>
                  <a:pt x="20" y="586"/>
                </a:lnTo>
                <a:lnTo>
                  <a:pt x="3" y="603"/>
                </a:lnTo>
                <a:lnTo>
                  <a:pt x="0" y="609"/>
                </a:lnTo>
                <a:lnTo>
                  <a:pt x="8" y="619"/>
                </a:lnTo>
                <a:lnTo>
                  <a:pt x="26" y="634"/>
                </a:lnTo>
                <a:lnTo>
                  <a:pt x="38" y="648"/>
                </a:lnTo>
                <a:lnTo>
                  <a:pt x="40" y="659"/>
                </a:lnTo>
                <a:lnTo>
                  <a:pt x="43" y="674"/>
                </a:lnTo>
                <a:lnTo>
                  <a:pt x="48" y="685"/>
                </a:lnTo>
                <a:lnTo>
                  <a:pt x="58" y="696"/>
                </a:lnTo>
                <a:lnTo>
                  <a:pt x="69" y="699"/>
                </a:lnTo>
                <a:lnTo>
                  <a:pt x="80" y="699"/>
                </a:lnTo>
                <a:lnTo>
                  <a:pt x="94" y="698"/>
                </a:lnTo>
                <a:lnTo>
                  <a:pt x="99" y="703"/>
                </a:lnTo>
                <a:lnTo>
                  <a:pt x="100" y="702"/>
                </a:lnTo>
                <a:lnTo>
                  <a:pt x="116" y="720"/>
                </a:lnTo>
                <a:lnTo>
                  <a:pt x="132" y="734"/>
                </a:lnTo>
                <a:lnTo>
                  <a:pt x="148" y="749"/>
                </a:lnTo>
                <a:lnTo>
                  <a:pt x="169" y="756"/>
                </a:lnTo>
                <a:lnTo>
                  <a:pt x="184" y="764"/>
                </a:lnTo>
                <a:lnTo>
                  <a:pt x="196" y="785"/>
                </a:lnTo>
                <a:lnTo>
                  <a:pt x="200" y="813"/>
                </a:lnTo>
                <a:lnTo>
                  <a:pt x="200" y="827"/>
                </a:lnTo>
                <a:lnTo>
                  <a:pt x="202" y="848"/>
                </a:lnTo>
                <a:lnTo>
                  <a:pt x="207" y="870"/>
                </a:lnTo>
                <a:lnTo>
                  <a:pt x="216" y="890"/>
                </a:lnTo>
                <a:lnTo>
                  <a:pt x="219" y="906"/>
                </a:lnTo>
                <a:lnTo>
                  <a:pt x="208" y="914"/>
                </a:lnTo>
                <a:lnTo>
                  <a:pt x="193" y="915"/>
                </a:lnTo>
                <a:lnTo>
                  <a:pt x="180" y="909"/>
                </a:lnTo>
                <a:lnTo>
                  <a:pt x="164" y="896"/>
                </a:lnTo>
                <a:lnTo>
                  <a:pt x="153" y="898"/>
                </a:lnTo>
                <a:lnTo>
                  <a:pt x="148" y="911"/>
                </a:lnTo>
                <a:lnTo>
                  <a:pt x="155" y="932"/>
                </a:lnTo>
                <a:lnTo>
                  <a:pt x="163" y="938"/>
                </a:lnTo>
                <a:lnTo>
                  <a:pt x="167" y="946"/>
                </a:lnTo>
                <a:lnTo>
                  <a:pt x="169" y="960"/>
                </a:lnTo>
                <a:lnTo>
                  <a:pt x="190" y="978"/>
                </a:lnTo>
                <a:lnTo>
                  <a:pt x="205" y="989"/>
                </a:lnTo>
                <a:lnTo>
                  <a:pt x="219" y="997"/>
                </a:lnTo>
                <a:lnTo>
                  <a:pt x="238" y="1010"/>
                </a:lnTo>
                <a:lnTo>
                  <a:pt x="255" y="1024"/>
                </a:lnTo>
              </a:path>
            </a:pathLst>
          </a:custGeom>
          <a:solidFill>
            <a:schemeClr val="accent2"/>
          </a:solidFill>
          <a:ln>
            <a:noFill/>
          </a:ln>
          <a:extLst>
            <a:ext uri="{91240B29-F687-4F45-9708-019B960494DF}">
              <a14:hiddenLine xmlns:a14="http://schemas.microsoft.com/office/drawing/2010/main" w="12700" cap="rnd" cmpd="sng">
                <a:solidFill>
                  <a:schemeClr val="tx2"/>
                </a:solidFill>
                <a:prstDash val="solid"/>
                <a:round/>
                <a:headEnd/>
                <a:tailEnd/>
              </a14:hiddenLine>
            </a:ext>
          </a:extLst>
        </p:spPr>
        <p:txBody>
          <a:bodyPr/>
          <a:lstStyle/>
          <a:p>
            <a:pPr defTabSz="609539"/>
            <a:endParaRPr lang="en-US" sz="2399">
              <a:solidFill>
                <a:srgbClr val="000000"/>
              </a:solidFill>
            </a:endParaRPr>
          </a:p>
        </p:txBody>
      </p:sp>
      <p:sp>
        <p:nvSpPr>
          <p:cNvPr id="9" name="Freeform 9">
            <a:extLst>
              <a:ext uri="{FF2B5EF4-FFF2-40B4-BE49-F238E27FC236}">
                <a16:creationId xmlns:a16="http://schemas.microsoft.com/office/drawing/2014/main" id="{A3207D07-9CA4-4C79-A32B-3C889768A00A}"/>
              </a:ext>
            </a:extLst>
          </p:cNvPr>
          <p:cNvSpPr>
            <a:spLocks/>
          </p:cNvSpPr>
          <p:nvPr>
            <p:custDataLst>
              <p:tags r:id="rId2"/>
            </p:custDataLst>
          </p:nvPr>
        </p:nvSpPr>
        <p:spPr bwMode="auto">
          <a:xfrm>
            <a:off x="10532921" y="1908936"/>
            <a:ext cx="187319" cy="249231"/>
          </a:xfrm>
          <a:custGeom>
            <a:avLst/>
            <a:gdLst>
              <a:gd name="T0" fmla="*/ 45 w 117"/>
              <a:gd name="T1" fmla="*/ 8 h 156"/>
              <a:gd name="T2" fmla="*/ 34 w 117"/>
              <a:gd name="T3" fmla="*/ 12 h 156"/>
              <a:gd name="T4" fmla="*/ 34 w 117"/>
              <a:gd name="T5" fmla="*/ 23 h 156"/>
              <a:gd name="T6" fmla="*/ 24 w 117"/>
              <a:gd name="T7" fmla="*/ 35 h 156"/>
              <a:gd name="T8" fmla="*/ 13 w 117"/>
              <a:gd name="T9" fmla="*/ 41 h 156"/>
              <a:gd name="T10" fmla="*/ 10 w 117"/>
              <a:gd name="T11" fmla="*/ 51 h 156"/>
              <a:gd name="T12" fmla="*/ 0 w 117"/>
              <a:gd name="T13" fmla="*/ 57 h 156"/>
              <a:gd name="T14" fmla="*/ 10 w 117"/>
              <a:gd name="T15" fmla="*/ 62 h 156"/>
              <a:gd name="T16" fmla="*/ 19 w 117"/>
              <a:gd name="T17" fmla="*/ 71 h 156"/>
              <a:gd name="T18" fmla="*/ 27 w 117"/>
              <a:gd name="T19" fmla="*/ 81 h 156"/>
              <a:gd name="T20" fmla="*/ 40 w 117"/>
              <a:gd name="T21" fmla="*/ 84 h 156"/>
              <a:gd name="T22" fmla="*/ 46 w 117"/>
              <a:gd name="T23" fmla="*/ 74 h 156"/>
              <a:gd name="T24" fmla="*/ 39 w 117"/>
              <a:gd name="T25" fmla="*/ 60 h 156"/>
              <a:gd name="T26" fmla="*/ 48 w 117"/>
              <a:gd name="T27" fmla="*/ 51 h 156"/>
              <a:gd name="T28" fmla="*/ 60 w 117"/>
              <a:gd name="T29" fmla="*/ 65 h 156"/>
              <a:gd name="T30" fmla="*/ 64 w 117"/>
              <a:gd name="T31" fmla="*/ 80 h 156"/>
              <a:gd name="T32" fmla="*/ 61 w 117"/>
              <a:gd name="T33" fmla="*/ 95 h 156"/>
              <a:gd name="T34" fmla="*/ 57 w 117"/>
              <a:gd name="T35" fmla="*/ 104 h 156"/>
              <a:gd name="T36" fmla="*/ 64 w 117"/>
              <a:gd name="T37" fmla="*/ 125 h 156"/>
              <a:gd name="T38" fmla="*/ 69 w 117"/>
              <a:gd name="T39" fmla="*/ 135 h 156"/>
              <a:gd name="T40" fmla="*/ 69 w 117"/>
              <a:gd name="T41" fmla="*/ 150 h 156"/>
              <a:gd name="T42" fmla="*/ 84 w 117"/>
              <a:gd name="T43" fmla="*/ 153 h 156"/>
              <a:gd name="T44" fmla="*/ 87 w 117"/>
              <a:gd name="T45" fmla="*/ 131 h 156"/>
              <a:gd name="T46" fmla="*/ 96 w 117"/>
              <a:gd name="T47" fmla="*/ 135 h 156"/>
              <a:gd name="T48" fmla="*/ 99 w 117"/>
              <a:gd name="T49" fmla="*/ 146 h 156"/>
              <a:gd name="T50" fmla="*/ 99 w 117"/>
              <a:gd name="T51" fmla="*/ 156 h 156"/>
              <a:gd name="T52" fmla="*/ 111 w 117"/>
              <a:gd name="T53" fmla="*/ 146 h 156"/>
              <a:gd name="T54" fmla="*/ 106 w 117"/>
              <a:gd name="T55" fmla="*/ 135 h 156"/>
              <a:gd name="T56" fmla="*/ 114 w 117"/>
              <a:gd name="T57" fmla="*/ 128 h 156"/>
              <a:gd name="T58" fmla="*/ 117 w 117"/>
              <a:gd name="T59" fmla="*/ 107 h 156"/>
              <a:gd name="T60" fmla="*/ 109 w 117"/>
              <a:gd name="T61" fmla="*/ 77 h 156"/>
              <a:gd name="T62" fmla="*/ 112 w 117"/>
              <a:gd name="T63" fmla="*/ 59 h 156"/>
              <a:gd name="T64" fmla="*/ 115 w 117"/>
              <a:gd name="T65" fmla="*/ 41 h 156"/>
              <a:gd name="T66" fmla="*/ 106 w 117"/>
              <a:gd name="T67" fmla="*/ 20 h 156"/>
              <a:gd name="T68" fmla="*/ 94 w 117"/>
              <a:gd name="T69" fmla="*/ 18 h 156"/>
              <a:gd name="T70" fmla="*/ 91 w 117"/>
              <a:gd name="T71" fmla="*/ 0 h 156"/>
              <a:gd name="T72" fmla="*/ 73 w 117"/>
              <a:gd name="T73" fmla="*/ 9 h 156"/>
              <a:gd name="T74" fmla="*/ 61 w 117"/>
              <a:gd name="T75" fmla="*/ 12 h 156"/>
              <a:gd name="T76" fmla="*/ 45 w 117"/>
              <a:gd name="T77" fmla="*/ 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7" h="156">
                <a:moveTo>
                  <a:pt x="45" y="8"/>
                </a:moveTo>
                <a:lnTo>
                  <a:pt x="34" y="12"/>
                </a:lnTo>
                <a:lnTo>
                  <a:pt x="34" y="23"/>
                </a:lnTo>
                <a:lnTo>
                  <a:pt x="24" y="35"/>
                </a:lnTo>
                <a:lnTo>
                  <a:pt x="13" y="41"/>
                </a:lnTo>
                <a:lnTo>
                  <a:pt x="10" y="51"/>
                </a:lnTo>
                <a:lnTo>
                  <a:pt x="0" y="57"/>
                </a:lnTo>
                <a:lnTo>
                  <a:pt x="10" y="62"/>
                </a:lnTo>
                <a:lnTo>
                  <a:pt x="19" y="71"/>
                </a:lnTo>
                <a:lnTo>
                  <a:pt x="27" y="81"/>
                </a:lnTo>
                <a:lnTo>
                  <a:pt x="40" y="84"/>
                </a:lnTo>
                <a:lnTo>
                  <a:pt x="46" y="74"/>
                </a:lnTo>
                <a:lnTo>
                  <a:pt x="39" y="60"/>
                </a:lnTo>
                <a:lnTo>
                  <a:pt x="48" y="51"/>
                </a:lnTo>
                <a:lnTo>
                  <a:pt x="60" y="65"/>
                </a:lnTo>
                <a:lnTo>
                  <a:pt x="64" y="80"/>
                </a:lnTo>
                <a:lnTo>
                  <a:pt x="61" y="95"/>
                </a:lnTo>
                <a:lnTo>
                  <a:pt x="57" y="104"/>
                </a:lnTo>
                <a:lnTo>
                  <a:pt x="64" y="125"/>
                </a:lnTo>
                <a:lnTo>
                  <a:pt x="69" y="135"/>
                </a:lnTo>
                <a:lnTo>
                  <a:pt x="69" y="150"/>
                </a:lnTo>
                <a:lnTo>
                  <a:pt x="84" y="153"/>
                </a:lnTo>
                <a:lnTo>
                  <a:pt x="87" y="131"/>
                </a:lnTo>
                <a:lnTo>
                  <a:pt x="96" y="135"/>
                </a:lnTo>
                <a:lnTo>
                  <a:pt x="99" y="146"/>
                </a:lnTo>
                <a:lnTo>
                  <a:pt x="99" y="156"/>
                </a:lnTo>
                <a:lnTo>
                  <a:pt x="111" y="146"/>
                </a:lnTo>
                <a:lnTo>
                  <a:pt x="106" y="135"/>
                </a:lnTo>
                <a:lnTo>
                  <a:pt x="114" y="128"/>
                </a:lnTo>
                <a:lnTo>
                  <a:pt x="117" y="107"/>
                </a:lnTo>
                <a:lnTo>
                  <a:pt x="109" y="77"/>
                </a:lnTo>
                <a:lnTo>
                  <a:pt x="112" y="59"/>
                </a:lnTo>
                <a:lnTo>
                  <a:pt x="115" y="41"/>
                </a:lnTo>
                <a:lnTo>
                  <a:pt x="106" y="20"/>
                </a:lnTo>
                <a:lnTo>
                  <a:pt x="94" y="18"/>
                </a:lnTo>
                <a:lnTo>
                  <a:pt x="91" y="0"/>
                </a:lnTo>
                <a:lnTo>
                  <a:pt x="73" y="9"/>
                </a:lnTo>
                <a:lnTo>
                  <a:pt x="61" y="12"/>
                </a:lnTo>
                <a:lnTo>
                  <a:pt x="45" y="8"/>
                </a:lnTo>
                <a:close/>
              </a:path>
            </a:pathLst>
          </a:custGeom>
          <a:solidFill>
            <a:schemeClr val="accent1"/>
          </a:solidFill>
          <a:ln w="9525">
            <a:solidFill>
              <a:schemeClr val="tx2"/>
            </a:solidFill>
            <a:round/>
            <a:headEnd/>
            <a:tailEnd/>
          </a:ln>
          <a:effectLst/>
          <a:extLst/>
        </p:spPr>
        <p:txBody>
          <a:bodyPr/>
          <a:lstStyle/>
          <a:p>
            <a:pPr defTabSz="609539"/>
            <a:endParaRPr lang="en-US" sz="2399">
              <a:solidFill>
                <a:srgbClr val="000000"/>
              </a:solidFill>
            </a:endParaRPr>
          </a:p>
        </p:txBody>
      </p:sp>
      <p:sp>
        <p:nvSpPr>
          <p:cNvPr id="10" name="Freeform 10">
            <a:extLst>
              <a:ext uri="{FF2B5EF4-FFF2-40B4-BE49-F238E27FC236}">
                <a16:creationId xmlns:a16="http://schemas.microsoft.com/office/drawing/2014/main" id="{F4FFD697-BB58-4FBE-9756-82DC3AB38AD6}"/>
              </a:ext>
            </a:extLst>
          </p:cNvPr>
          <p:cNvSpPr>
            <a:spLocks/>
          </p:cNvSpPr>
          <p:nvPr>
            <p:custDataLst>
              <p:tags r:id="rId3"/>
            </p:custDataLst>
          </p:nvPr>
        </p:nvSpPr>
        <p:spPr bwMode="auto">
          <a:xfrm>
            <a:off x="10594830" y="948527"/>
            <a:ext cx="596883" cy="950884"/>
          </a:xfrm>
          <a:custGeom>
            <a:avLst/>
            <a:gdLst>
              <a:gd name="T0" fmla="*/ 43 w 372"/>
              <a:gd name="T1" fmla="*/ 577 h 592"/>
              <a:gd name="T2" fmla="*/ 64 w 372"/>
              <a:gd name="T3" fmla="*/ 565 h 592"/>
              <a:gd name="T4" fmla="*/ 76 w 372"/>
              <a:gd name="T5" fmla="*/ 550 h 592"/>
              <a:gd name="T6" fmla="*/ 121 w 372"/>
              <a:gd name="T7" fmla="*/ 517 h 592"/>
              <a:gd name="T8" fmla="*/ 139 w 372"/>
              <a:gd name="T9" fmla="*/ 486 h 592"/>
              <a:gd name="T10" fmla="*/ 160 w 372"/>
              <a:gd name="T11" fmla="*/ 519 h 592"/>
              <a:gd name="T12" fmla="*/ 172 w 372"/>
              <a:gd name="T13" fmla="*/ 474 h 592"/>
              <a:gd name="T14" fmla="*/ 181 w 372"/>
              <a:gd name="T15" fmla="*/ 501 h 592"/>
              <a:gd name="T16" fmla="*/ 214 w 372"/>
              <a:gd name="T17" fmla="*/ 531 h 592"/>
              <a:gd name="T18" fmla="*/ 234 w 372"/>
              <a:gd name="T19" fmla="*/ 477 h 592"/>
              <a:gd name="T20" fmla="*/ 220 w 372"/>
              <a:gd name="T21" fmla="*/ 435 h 592"/>
              <a:gd name="T22" fmla="*/ 256 w 372"/>
              <a:gd name="T23" fmla="*/ 436 h 592"/>
              <a:gd name="T24" fmla="*/ 297 w 372"/>
              <a:gd name="T25" fmla="*/ 412 h 592"/>
              <a:gd name="T26" fmla="*/ 312 w 372"/>
              <a:gd name="T27" fmla="*/ 385 h 592"/>
              <a:gd name="T28" fmla="*/ 331 w 372"/>
              <a:gd name="T29" fmla="*/ 391 h 592"/>
              <a:gd name="T30" fmla="*/ 337 w 372"/>
              <a:gd name="T31" fmla="*/ 349 h 592"/>
              <a:gd name="T32" fmla="*/ 363 w 372"/>
              <a:gd name="T33" fmla="*/ 318 h 592"/>
              <a:gd name="T34" fmla="*/ 337 w 372"/>
              <a:gd name="T35" fmla="*/ 268 h 592"/>
              <a:gd name="T36" fmla="*/ 333 w 372"/>
              <a:gd name="T37" fmla="*/ 205 h 592"/>
              <a:gd name="T38" fmla="*/ 312 w 372"/>
              <a:gd name="T39" fmla="*/ 154 h 592"/>
              <a:gd name="T40" fmla="*/ 313 w 372"/>
              <a:gd name="T41" fmla="*/ 120 h 592"/>
              <a:gd name="T42" fmla="*/ 295 w 372"/>
              <a:gd name="T43" fmla="*/ 61 h 592"/>
              <a:gd name="T44" fmla="*/ 256 w 372"/>
              <a:gd name="T45" fmla="*/ 39 h 592"/>
              <a:gd name="T46" fmla="*/ 241 w 372"/>
              <a:gd name="T47" fmla="*/ 9 h 592"/>
              <a:gd name="T48" fmla="*/ 228 w 372"/>
              <a:gd name="T49" fmla="*/ 18 h 592"/>
              <a:gd name="T50" fmla="*/ 219 w 372"/>
              <a:gd name="T51" fmla="*/ 33 h 592"/>
              <a:gd name="T52" fmla="*/ 208 w 372"/>
              <a:gd name="T53" fmla="*/ 48 h 592"/>
              <a:gd name="T54" fmla="*/ 207 w 372"/>
              <a:gd name="T55" fmla="*/ 78 h 592"/>
              <a:gd name="T56" fmla="*/ 237 w 372"/>
              <a:gd name="T57" fmla="*/ 120 h 592"/>
              <a:gd name="T58" fmla="*/ 244 w 372"/>
              <a:gd name="T59" fmla="*/ 184 h 592"/>
              <a:gd name="T60" fmla="*/ 238 w 372"/>
              <a:gd name="T61" fmla="*/ 220 h 592"/>
              <a:gd name="T62" fmla="*/ 235 w 372"/>
              <a:gd name="T63" fmla="*/ 271 h 592"/>
              <a:gd name="T64" fmla="*/ 204 w 372"/>
              <a:gd name="T65" fmla="*/ 328 h 592"/>
              <a:gd name="T66" fmla="*/ 187 w 372"/>
              <a:gd name="T67" fmla="*/ 304 h 592"/>
              <a:gd name="T68" fmla="*/ 178 w 372"/>
              <a:gd name="T69" fmla="*/ 283 h 592"/>
              <a:gd name="T70" fmla="*/ 172 w 372"/>
              <a:gd name="T71" fmla="*/ 315 h 592"/>
              <a:gd name="T72" fmla="*/ 180 w 372"/>
              <a:gd name="T73" fmla="*/ 361 h 592"/>
              <a:gd name="T74" fmla="*/ 166 w 372"/>
              <a:gd name="T75" fmla="*/ 384 h 592"/>
              <a:gd name="T76" fmla="*/ 177 w 372"/>
              <a:gd name="T77" fmla="*/ 415 h 592"/>
              <a:gd name="T78" fmla="*/ 147 w 372"/>
              <a:gd name="T79" fmla="*/ 417 h 592"/>
              <a:gd name="T80" fmla="*/ 109 w 372"/>
              <a:gd name="T81" fmla="*/ 454 h 592"/>
              <a:gd name="T82" fmla="*/ 82 w 372"/>
              <a:gd name="T83" fmla="*/ 471 h 592"/>
              <a:gd name="T84" fmla="*/ 51 w 372"/>
              <a:gd name="T85" fmla="*/ 492 h 592"/>
              <a:gd name="T86" fmla="*/ 36 w 372"/>
              <a:gd name="T87" fmla="*/ 522 h 592"/>
              <a:gd name="T88" fmla="*/ 13 w 372"/>
              <a:gd name="T89" fmla="*/ 564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72" h="592">
                <a:moveTo>
                  <a:pt x="12" y="592"/>
                </a:moveTo>
                <a:lnTo>
                  <a:pt x="27" y="583"/>
                </a:lnTo>
                <a:lnTo>
                  <a:pt x="43" y="577"/>
                </a:lnTo>
                <a:lnTo>
                  <a:pt x="58" y="580"/>
                </a:lnTo>
                <a:lnTo>
                  <a:pt x="69" y="580"/>
                </a:lnTo>
                <a:lnTo>
                  <a:pt x="64" y="565"/>
                </a:lnTo>
                <a:lnTo>
                  <a:pt x="60" y="552"/>
                </a:lnTo>
                <a:lnTo>
                  <a:pt x="67" y="541"/>
                </a:lnTo>
                <a:lnTo>
                  <a:pt x="76" y="550"/>
                </a:lnTo>
                <a:lnTo>
                  <a:pt x="87" y="541"/>
                </a:lnTo>
                <a:lnTo>
                  <a:pt x="108" y="525"/>
                </a:lnTo>
                <a:lnTo>
                  <a:pt x="121" y="517"/>
                </a:lnTo>
                <a:lnTo>
                  <a:pt x="130" y="513"/>
                </a:lnTo>
                <a:lnTo>
                  <a:pt x="127" y="502"/>
                </a:lnTo>
                <a:lnTo>
                  <a:pt x="139" y="486"/>
                </a:lnTo>
                <a:lnTo>
                  <a:pt x="150" y="480"/>
                </a:lnTo>
                <a:lnTo>
                  <a:pt x="168" y="483"/>
                </a:lnTo>
                <a:lnTo>
                  <a:pt x="160" y="519"/>
                </a:lnTo>
                <a:lnTo>
                  <a:pt x="171" y="505"/>
                </a:lnTo>
                <a:lnTo>
                  <a:pt x="171" y="486"/>
                </a:lnTo>
                <a:lnTo>
                  <a:pt x="172" y="474"/>
                </a:lnTo>
                <a:lnTo>
                  <a:pt x="183" y="471"/>
                </a:lnTo>
                <a:lnTo>
                  <a:pt x="187" y="489"/>
                </a:lnTo>
                <a:lnTo>
                  <a:pt x="181" y="501"/>
                </a:lnTo>
                <a:lnTo>
                  <a:pt x="193" y="519"/>
                </a:lnTo>
                <a:lnTo>
                  <a:pt x="204" y="525"/>
                </a:lnTo>
                <a:lnTo>
                  <a:pt x="214" y="531"/>
                </a:lnTo>
                <a:lnTo>
                  <a:pt x="229" y="514"/>
                </a:lnTo>
                <a:lnTo>
                  <a:pt x="231" y="498"/>
                </a:lnTo>
                <a:lnTo>
                  <a:pt x="234" y="477"/>
                </a:lnTo>
                <a:lnTo>
                  <a:pt x="232" y="459"/>
                </a:lnTo>
                <a:lnTo>
                  <a:pt x="226" y="451"/>
                </a:lnTo>
                <a:lnTo>
                  <a:pt x="220" y="435"/>
                </a:lnTo>
                <a:lnTo>
                  <a:pt x="234" y="424"/>
                </a:lnTo>
                <a:lnTo>
                  <a:pt x="241" y="435"/>
                </a:lnTo>
                <a:lnTo>
                  <a:pt x="256" y="436"/>
                </a:lnTo>
                <a:lnTo>
                  <a:pt x="264" y="429"/>
                </a:lnTo>
                <a:lnTo>
                  <a:pt x="279" y="421"/>
                </a:lnTo>
                <a:lnTo>
                  <a:pt x="297" y="412"/>
                </a:lnTo>
                <a:lnTo>
                  <a:pt x="300" y="393"/>
                </a:lnTo>
                <a:lnTo>
                  <a:pt x="301" y="378"/>
                </a:lnTo>
                <a:lnTo>
                  <a:pt x="312" y="385"/>
                </a:lnTo>
                <a:lnTo>
                  <a:pt x="315" y="399"/>
                </a:lnTo>
                <a:lnTo>
                  <a:pt x="322" y="409"/>
                </a:lnTo>
                <a:lnTo>
                  <a:pt x="331" y="391"/>
                </a:lnTo>
                <a:lnTo>
                  <a:pt x="322" y="372"/>
                </a:lnTo>
                <a:lnTo>
                  <a:pt x="324" y="351"/>
                </a:lnTo>
                <a:lnTo>
                  <a:pt x="337" y="349"/>
                </a:lnTo>
                <a:lnTo>
                  <a:pt x="358" y="364"/>
                </a:lnTo>
                <a:lnTo>
                  <a:pt x="366" y="339"/>
                </a:lnTo>
                <a:lnTo>
                  <a:pt x="363" y="318"/>
                </a:lnTo>
                <a:lnTo>
                  <a:pt x="372" y="304"/>
                </a:lnTo>
                <a:lnTo>
                  <a:pt x="352" y="282"/>
                </a:lnTo>
                <a:lnTo>
                  <a:pt x="337" y="268"/>
                </a:lnTo>
                <a:lnTo>
                  <a:pt x="340" y="241"/>
                </a:lnTo>
                <a:lnTo>
                  <a:pt x="348" y="234"/>
                </a:lnTo>
                <a:lnTo>
                  <a:pt x="333" y="205"/>
                </a:lnTo>
                <a:lnTo>
                  <a:pt x="322" y="190"/>
                </a:lnTo>
                <a:lnTo>
                  <a:pt x="309" y="168"/>
                </a:lnTo>
                <a:lnTo>
                  <a:pt x="312" y="154"/>
                </a:lnTo>
                <a:lnTo>
                  <a:pt x="327" y="153"/>
                </a:lnTo>
                <a:lnTo>
                  <a:pt x="313" y="133"/>
                </a:lnTo>
                <a:lnTo>
                  <a:pt x="313" y="120"/>
                </a:lnTo>
                <a:lnTo>
                  <a:pt x="312" y="99"/>
                </a:lnTo>
                <a:lnTo>
                  <a:pt x="307" y="81"/>
                </a:lnTo>
                <a:lnTo>
                  <a:pt x="295" y="61"/>
                </a:lnTo>
                <a:lnTo>
                  <a:pt x="286" y="57"/>
                </a:lnTo>
                <a:lnTo>
                  <a:pt x="271" y="45"/>
                </a:lnTo>
                <a:lnTo>
                  <a:pt x="256" y="39"/>
                </a:lnTo>
                <a:lnTo>
                  <a:pt x="249" y="28"/>
                </a:lnTo>
                <a:lnTo>
                  <a:pt x="246" y="18"/>
                </a:lnTo>
                <a:lnTo>
                  <a:pt x="241" y="9"/>
                </a:lnTo>
                <a:lnTo>
                  <a:pt x="217" y="0"/>
                </a:lnTo>
                <a:lnTo>
                  <a:pt x="216" y="19"/>
                </a:lnTo>
                <a:lnTo>
                  <a:pt x="228" y="18"/>
                </a:lnTo>
                <a:lnTo>
                  <a:pt x="240" y="19"/>
                </a:lnTo>
                <a:lnTo>
                  <a:pt x="229" y="33"/>
                </a:lnTo>
                <a:lnTo>
                  <a:pt x="219" y="33"/>
                </a:lnTo>
                <a:lnTo>
                  <a:pt x="204" y="27"/>
                </a:lnTo>
                <a:lnTo>
                  <a:pt x="195" y="37"/>
                </a:lnTo>
                <a:lnTo>
                  <a:pt x="208" y="48"/>
                </a:lnTo>
                <a:lnTo>
                  <a:pt x="204" y="57"/>
                </a:lnTo>
                <a:lnTo>
                  <a:pt x="199" y="67"/>
                </a:lnTo>
                <a:lnTo>
                  <a:pt x="207" y="78"/>
                </a:lnTo>
                <a:lnTo>
                  <a:pt x="216" y="94"/>
                </a:lnTo>
                <a:lnTo>
                  <a:pt x="220" y="112"/>
                </a:lnTo>
                <a:lnTo>
                  <a:pt x="237" y="120"/>
                </a:lnTo>
                <a:lnTo>
                  <a:pt x="243" y="136"/>
                </a:lnTo>
                <a:lnTo>
                  <a:pt x="244" y="169"/>
                </a:lnTo>
                <a:lnTo>
                  <a:pt x="244" y="184"/>
                </a:lnTo>
                <a:lnTo>
                  <a:pt x="252" y="204"/>
                </a:lnTo>
                <a:lnTo>
                  <a:pt x="249" y="220"/>
                </a:lnTo>
                <a:lnTo>
                  <a:pt x="238" y="220"/>
                </a:lnTo>
                <a:lnTo>
                  <a:pt x="240" y="237"/>
                </a:lnTo>
                <a:lnTo>
                  <a:pt x="240" y="247"/>
                </a:lnTo>
                <a:lnTo>
                  <a:pt x="235" y="271"/>
                </a:lnTo>
                <a:lnTo>
                  <a:pt x="220" y="292"/>
                </a:lnTo>
                <a:lnTo>
                  <a:pt x="208" y="315"/>
                </a:lnTo>
                <a:lnTo>
                  <a:pt x="204" y="328"/>
                </a:lnTo>
                <a:lnTo>
                  <a:pt x="190" y="325"/>
                </a:lnTo>
                <a:lnTo>
                  <a:pt x="177" y="309"/>
                </a:lnTo>
                <a:lnTo>
                  <a:pt x="187" y="304"/>
                </a:lnTo>
                <a:lnTo>
                  <a:pt x="193" y="292"/>
                </a:lnTo>
                <a:lnTo>
                  <a:pt x="190" y="282"/>
                </a:lnTo>
                <a:lnTo>
                  <a:pt x="178" y="283"/>
                </a:lnTo>
                <a:lnTo>
                  <a:pt x="174" y="294"/>
                </a:lnTo>
                <a:lnTo>
                  <a:pt x="171" y="304"/>
                </a:lnTo>
                <a:lnTo>
                  <a:pt x="172" y="315"/>
                </a:lnTo>
                <a:lnTo>
                  <a:pt x="181" y="324"/>
                </a:lnTo>
                <a:lnTo>
                  <a:pt x="184" y="351"/>
                </a:lnTo>
                <a:lnTo>
                  <a:pt x="180" y="361"/>
                </a:lnTo>
                <a:lnTo>
                  <a:pt x="177" y="372"/>
                </a:lnTo>
                <a:lnTo>
                  <a:pt x="162" y="372"/>
                </a:lnTo>
                <a:lnTo>
                  <a:pt x="166" y="384"/>
                </a:lnTo>
                <a:lnTo>
                  <a:pt x="177" y="394"/>
                </a:lnTo>
                <a:lnTo>
                  <a:pt x="180" y="405"/>
                </a:lnTo>
                <a:lnTo>
                  <a:pt x="177" y="415"/>
                </a:lnTo>
                <a:lnTo>
                  <a:pt x="168" y="421"/>
                </a:lnTo>
                <a:lnTo>
                  <a:pt x="159" y="427"/>
                </a:lnTo>
                <a:lnTo>
                  <a:pt x="147" y="417"/>
                </a:lnTo>
                <a:cubicBezTo>
                  <a:pt x="127" y="426"/>
                  <a:pt x="127" y="419"/>
                  <a:pt x="127" y="427"/>
                </a:cubicBezTo>
                <a:lnTo>
                  <a:pt x="120" y="444"/>
                </a:lnTo>
                <a:lnTo>
                  <a:pt x="109" y="454"/>
                </a:lnTo>
                <a:lnTo>
                  <a:pt x="103" y="462"/>
                </a:lnTo>
                <a:lnTo>
                  <a:pt x="94" y="466"/>
                </a:lnTo>
                <a:lnTo>
                  <a:pt x="82" y="471"/>
                </a:lnTo>
                <a:lnTo>
                  <a:pt x="69" y="466"/>
                </a:lnTo>
                <a:lnTo>
                  <a:pt x="60" y="477"/>
                </a:lnTo>
                <a:lnTo>
                  <a:pt x="51" y="492"/>
                </a:lnTo>
                <a:lnTo>
                  <a:pt x="49" y="499"/>
                </a:lnTo>
                <a:lnTo>
                  <a:pt x="46" y="508"/>
                </a:lnTo>
                <a:lnTo>
                  <a:pt x="36" y="522"/>
                </a:lnTo>
                <a:lnTo>
                  <a:pt x="36" y="531"/>
                </a:lnTo>
                <a:lnTo>
                  <a:pt x="24" y="546"/>
                </a:lnTo>
                <a:lnTo>
                  <a:pt x="13" y="564"/>
                </a:lnTo>
                <a:lnTo>
                  <a:pt x="0" y="580"/>
                </a:lnTo>
                <a:lnTo>
                  <a:pt x="12" y="592"/>
                </a:lnTo>
                <a:close/>
              </a:path>
            </a:pathLst>
          </a:custGeom>
          <a:solidFill>
            <a:schemeClr val="accent1"/>
          </a:solidFill>
          <a:ln w="9525">
            <a:solidFill>
              <a:schemeClr val="tx2"/>
            </a:solidFill>
            <a:round/>
            <a:headEnd/>
            <a:tailEnd/>
          </a:ln>
          <a:effectLst/>
          <a:extLst/>
        </p:spPr>
        <p:txBody>
          <a:bodyPr/>
          <a:lstStyle/>
          <a:p>
            <a:pPr defTabSz="609539"/>
            <a:endParaRPr lang="en-US" sz="2399">
              <a:solidFill>
                <a:srgbClr val="000000"/>
              </a:solidFill>
            </a:endParaRPr>
          </a:p>
        </p:txBody>
      </p:sp>
      <p:sp>
        <p:nvSpPr>
          <p:cNvPr id="11" name="Freeform 11">
            <a:extLst>
              <a:ext uri="{FF2B5EF4-FFF2-40B4-BE49-F238E27FC236}">
                <a16:creationId xmlns:a16="http://schemas.microsoft.com/office/drawing/2014/main" id="{D21E03E6-C35D-46B5-9CEF-20F2C1D71B5D}"/>
              </a:ext>
            </a:extLst>
          </p:cNvPr>
          <p:cNvSpPr>
            <a:spLocks/>
          </p:cNvSpPr>
          <p:nvPr>
            <p:custDataLst>
              <p:tags r:id="rId4"/>
            </p:custDataLst>
          </p:nvPr>
        </p:nvSpPr>
        <p:spPr bwMode="auto">
          <a:xfrm rot="120000">
            <a:off x="8035855" y="4945738"/>
            <a:ext cx="1077882" cy="903261"/>
          </a:xfrm>
          <a:custGeom>
            <a:avLst/>
            <a:gdLst>
              <a:gd name="T0" fmla="*/ 601 w 663"/>
              <a:gd name="T1" fmla="*/ 372 h 556"/>
              <a:gd name="T2" fmla="*/ 585 w 663"/>
              <a:gd name="T3" fmla="*/ 354 h 556"/>
              <a:gd name="T4" fmla="*/ 560 w 663"/>
              <a:gd name="T5" fmla="*/ 320 h 556"/>
              <a:gd name="T6" fmla="*/ 538 w 663"/>
              <a:gd name="T7" fmla="*/ 302 h 556"/>
              <a:gd name="T8" fmla="*/ 506 w 663"/>
              <a:gd name="T9" fmla="*/ 276 h 556"/>
              <a:gd name="T10" fmla="*/ 517 w 663"/>
              <a:gd name="T11" fmla="*/ 250 h 556"/>
              <a:gd name="T12" fmla="*/ 485 w 663"/>
              <a:gd name="T13" fmla="*/ 235 h 556"/>
              <a:gd name="T14" fmla="*/ 443 w 663"/>
              <a:gd name="T15" fmla="*/ 187 h 556"/>
              <a:gd name="T16" fmla="*/ 404 w 663"/>
              <a:gd name="T17" fmla="*/ 185 h 556"/>
              <a:gd name="T18" fmla="*/ 392 w 663"/>
              <a:gd name="T19" fmla="*/ 187 h 556"/>
              <a:gd name="T20" fmla="*/ 397 w 663"/>
              <a:gd name="T21" fmla="*/ 169 h 556"/>
              <a:gd name="T22" fmla="*/ 368 w 663"/>
              <a:gd name="T23" fmla="*/ 166 h 556"/>
              <a:gd name="T24" fmla="*/ 339 w 663"/>
              <a:gd name="T25" fmla="*/ 143 h 556"/>
              <a:gd name="T26" fmla="*/ 317 w 663"/>
              <a:gd name="T27" fmla="*/ 143 h 556"/>
              <a:gd name="T28" fmla="*/ 265 w 663"/>
              <a:gd name="T29" fmla="*/ 120 h 556"/>
              <a:gd name="T30" fmla="*/ 244 w 663"/>
              <a:gd name="T31" fmla="*/ 99 h 556"/>
              <a:gd name="T32" fmla="*/ 209 w 663"/>
              <a:gd name="T33" fmla="*/ 82 h 556"/>
              <a:gd name="T34" fmla="*/ 187 w 663"/>
              <a:gd name="T35" fmla="*/ 68 h 556"/>
              <a:gd name="T36" fmla="*/ 160 w 663"/>
              <a:gd name="T37" fmla="*/ 31 h 556"/>
              <a:gd name="T38" fmla="*/ 101 w 663"/>
              <a:gd name="T39" fmla="*/ 21 h 556"/>
              <a:gd name="T40" fmla="*/ 31 w 663"/>
              <a:gd name="T41" fmla="*/ 11 h 556"/>
              <a:gd name="T42" fmla="*/ 4 w 663"/>
              <a:gd name="T43" fmla="*/ 0 h 556"/>
              <a:gd name="T44" fmla="*/ 7 w 663"/>
              <a:gd name="T45" fmla="*/ 39 h 556"/>
              <a:gd name="T46" fmla="*/ 39 w 663"/>
              <a:gd name="T47" fmla="*/ 74 h 556"/>
              <a:gd name="T48" fmla="*/ 79 w 663"/>
              <a:gd name="T49" fmla="*/ 99 h 556"/>
              <a:gd name="T50" fmla="*/ 112 w 663"/>
              <a:gd name="T51" fmla="*/ 130 h 556"/>
              <a:gd name="T52" fmla="*/ 144 w 663"/>
              <a:gd name="T53" fmla="*/ 164 h 556"/>
              <a:gd name="T54" fmla="*/ 187 w 663"/>
              <a:gd name="T55" fmla="*/ 179 h 556"/>
              <a:gd name="T56" fmla="*/ 214 w 663"/>
              <a:gd name="T57" fmla="*/ 224 h 556"/>
              <a:gd name="T58" fmla="*/ 222 w 663"/>
              <a:gd name="T59" fmla="*/ 255 h 556"/>
              <a:gd name="T60" fmla="*/ 257 w 663"/>
              <a:gd name="T61" fmla="*/ 278 h 556"/>
              <a:gd name="T62" fmla="*/ 292 w 663"/>
              <a:gd name="T63" fmla="*/ 307 h 556"/>
              <a:gd name="T64" fmla="*/ 325 w 663"/>
              <a:gd name="T65" fmla="*/ 349 h 556"/>
              <a:gd name="T66" fmla="*/ 355 w 663"/>
              <a:gd name="T67" fmla="*/ 395 h 556"/>
              <a:gd name="T68" fmla="*/ 381 w 663"/>
              <a:gd name="T69" fmla="*/ 424 h 556"/>
              <a:gd name="T70" fmla="*/ 395 w 663"/>
              <a:gd name="T71" fmla="*/ 442 h 556"/>
              <a:gd name="T72" fmla="*/ 428 w 663"/>
              <a:gd name="T73" fmla="*/ 455 h 556"/>
              <a:gd name="T74" fmla="*/ 450 w 663"/>
              <a:gd name="T75" fmla="*/ 479 h 556"/>
              <a:gd name="T76" fmla="*/ 482 w 663"/>
              <a:gd name="T77" fmla="*/ 494 h 556"/>
              <a:gd name="T78" fmla="*/ 514 w 663"/>
              <a:gd name="T79" fmla="*/ 512 h 556"/>
              <a:gd name="T80" fmla="*/ 547 w 663"/>
              <a:gd name="T81" fmla="*/ 540 h 556"/>
              <a:gd name="T82" fmla="*/ 577 w 663"/>
              <a:gd name="T83" fmla="*/ 556 h 556"/>
              <a:gd name="T84" fmla="*/ 617 w 663"/>
              <a:gd name="T85" fmla="*/ 538 h 556"/>
              <a:gd name="T86" fmla="*/ 646 w 663"/>
              <a:gd name="T87" fmla="*/ 538 h 556"/>
              <a:gd name="T88" fmla="*/ 663 w 663"/>
              <a:gd name="T89" fmla="*/ 486 h 556"/>
              <a:gd name="T90" fmla="*/ 655 w 663"/>
              <a:gd name="T91" fmla="*/ 442 h 556"/>
              <a:gd name="T92" fmla="*/ 660 w 663"/>
              <a:gd name="T93" fmla="*/ 403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3" h="556">
                <a:moveTo>
                  <a:pt x="644" y="379"/>
                </a:moveTo>
                <a:lnTo>
                  <a:pt x="628" y="367"/>
                </a:lnTo>
                <a:lnTo>
                  <a:pt x="601" y="372"/>
                </a:lnTo>
                <a:lnTo>
                  <a:pt x="587" y="372"/>
                </a:lnTo>
                <a:lnTo>
                  <a:pt x="585" y="369"/>
                </a:lnTo>
                <a:lnTo>
                  <a:pt x="585" y="354"/>
                </a:lnTo>
                <a:lnTo>
                  <a:pt x="574" y="343"/>
                </a:lnTo>
                <a:lnTo>
                  <a:pt x="565" y="331"/>
                </a:lnTo>
                <a:lnTo>
                  <a:pt x="560" y="320"/>
                </a:lnTo>
                <a:lnTo>
                  <a:pt x="555" y="307"/>
                </a:lnTo>
                <a:lnTo>
                  <a:pt x="552" y="304"/>
                </a:lnTo>
                <a:lnTo>
                  <a:pt x="538" y="302"/>
                </a:lnTo>
                <a:lnTo>
                  <a:pt x="504" y="300"/>
                </a:lnTo>
                <a:lnTo>
                  <a:pt x="508" y="289"/>
                </a:lnTo>
                <a:lnTo>
                  <a:pt x="506" y="276"/>
                </a:lnTo>
                <a:lnTo>
                  <a:pt x="514" y="274"/>
                </a:lnTo>
                <a:lnTo>
                  <a:pt x="519" y="270"/>
                </a:lnTo>
                <a:lnTo>
                  <a:pt x="517" y="250"/>
                </a:lnTo>
                <a:lnTo>
                  <a:pt x="506" y="241"/>
                </a:lnTo>
                <a:lnTo>
                  <a:pt x="496" y="236"/>
                </a:lnTo>
                <a:lnTo>
                  <a:pt x="485" y="235"/>
                </a:lnTo>
                <a:lnTo>
                  <a:pt x="485" y="221"/>
                </a:lnTo>
                <a:lnTo>
                  <a:pt x="466" y="208"/>
                </a:lnTo>
                <a:lnTo>
                  <a:pt x="443" y="187"/>
                </a:lnTo>
                <a:lnTo>
                  <a:pt x="436" y="182"/>
                </a:lnTo>
                <a:lnTo>
                  <a:pt x="425" y="177"/>
                </a:lnTo>
                <a:lnTo>
                  <a:pt x="404" y="185"/>
                </a:lnTo>
                <a:lnTo>
                  <a:pt x="400" y="187"/>
                </a:lnTo>
                <a:lnTo>
                  <a:pt x="395" y="190"/>
                </a:lnTo>
                <a:lnTo>
                  <a:pt x="392" y="187"/>
                </a:lnTo>
                <a:lnTo>
                  <a:pt x="392" y="182"/>
                </a:lnTo>
                <a:lnTo>
                  <a:pt x="397" y="172"/>
                </a:lnTo>
                <a:lnTo>
                  <a:pt x="397" y="169"/>
                </a:lnTo>
                <a:lnTo>
                  <a:pt x="390" y="161"/>
                </a:lnTo>
                <a:lnTo>
                  <a:pt x="381" y="159"/>
                </a:lnTo>
                <a:lnTo>
                  <a:pt x="368" y="166"/>
                </a:lnTo>
                <a:lnTo>
                  <a:pt x="360" y="151"/>
                </a:lnTo>
                <a:lnTo>
                  <a:pt x="355" y="145"/>
                </a:lnTo>
                <a:lnTo>
                  <a:pt x="339" y="143"/>
                </a:lnTo>
                <a:lnTo>
                  <a:pt x="335" y="148"/>
                </a:lnTo>
                <a:lnTo>
                  <a:pt x="333" y="151"/>
                </a:lnTo>
                <a:lnTo>
                  <a:pt x="317" y="143"/>
                </a:lnTo>
                <a:lnTo>
                  <a:pt x="301" y="133"/>
                </a:lnTo>
                <a:lnTo>
                  <a:pt x="288" y="130"/>
                </a:lnTo>
                <a:lnTo>
                  <a:pt x="265" y="120"/>
                </a:lnTo>
                <a:lnTo>
                  <a:pt x="263" y="117"/>
                </a:lnTo>
                <a:lnTo>
                  <a:pt x="255" y="108"/>
                </a:lnTo>
                <a:lnTo>
                  <a:pt x="244" y="99"/>
                </a:lnTo>
                <a:lnTo>
                  <a:pt x="233" y="94"/>
                </a:lnTo>
                <a:lnTo>
                  <a:pt x="222" y="91"/>
                </a:lnTo>
                <a:lnTo>
                  <a:pt x="209" y="82"/>
                </a:lnTo>
                <a:lnTo>
                  <a:pt x="203" y="76"/>
                </a:lnTo>
                <a:lnTo>
                  <a:pt x="193" y="74"/>
                </a:lnTo>
                <a:lnTo>
                  <a:pt x="187" y="68"/>
                </a:lnTo>
                <a:lnTo>
                  <a:pt x="185" y="49"/>
                </a:lnTo>
                <a:lnTo>
                  <a:pt x="174" y="45"/>
                </a:lnTo>
                <a:lnTo>
                  <a:pt x="160" y="31"/>
                </a:lnTo>
                <a:lnTo>
                  <a:pt x="149" y="27"/>
                </a:lnTo>
                <a:lnTo>
                  <a:pt x="139" y="19"/>
                </a:lnTo>
                <a:lnTo>
                  <a:pt x="101" y="21"/>
                </a:lnTo>
                <a:lnTo>
                  <a:pt x="87" y="19"/>
                </a:lnTo>
                <a:lnTo>
                  <a:pt x="41" y="16"/>
                </a:lnTo>
                <a:lnTo>
                  <a:pt x="31" y="11"/>
                </a:lnTo>
                <a:lnTo>
                  <a:pt x="20" y="3"/>
                </a:lnTo>
                <a:lnTo>
                  <a:pt x="15" y="0"/>
                </a:lnTo>
                <a:lnTo>
                  <a:pt x="4" y="0"/>
                </a:lnTo>
                <a:lnTo>
                  <a:pt x="0" y="6"/>
                </a:lnTo>
                <a:lnTo>
                  <a:pt x="4" y="29"/>
                </a:lnTo>
                <a:lnTo>
                  <a:pt x="7" y="39"/>
                </a:lnTo>
                <a:lnTo>
                  <a:pt x="17" y="60"/>
                </a:lnTo>
                <a:lnTo>
                  <a:pt x="28" y="65"/>
                </a:lnTo>
                <a:lnTo>
                  <a:pt x="39" y="74"/>
                </a:lnTo>
                <a:lnTo>
                  <a:pt x="50" y="79"/>
                </a:lnTo>
                <a:lnTo>
                  <a:pt x="68" y="97"/>
                </a:lnTo>
                <a:lnTo>
                  <a:pt x="79" y="99"/>
                </a:lnTo>
                <a:lnTo>
                  <a:pt x="87" y="109"/>
                </a:lnTo>
                <a:lnTo>
                  <a:pt x="98" y="117"/>
                </a:lnTo>
                <a:lnTo>
                  <a:pt x="112" y="130"/>
                </a:lnTo>
                <a:lnTo>
                  <a:pt x="127" y="140"/>
                </a:lnTo>
                <a:lnTo>
                  <a:pt x="139" y="155"/>
                </a:lnTo>
                <a:lnTo>
                  <a:pt x="144" y="164"/>
                </a:lnTo>
                <a:lnTo>
                  <a:pt x="155" y="169"/>
                </a:lnTo>
                <a:lnTo>
                  <a:pt x="177" y="174"/>
                </a:lnTo>
                <a:lnTo>
                  <a:pt x="187" y="179"/>
                </a:lnTo>
                <a:lnTo>
                  <a:pt x="203" y="198"/>
                </a:lnTo>
                <a:lnTo>
                  <a:pt x="212" y="214"/>
                </a:lnTo>
                <a:lnTo>
                  <a:pt x="214" y="224"/>
                </a:lnTo>
                <a:lnTo>
                  <a:pt x="217" y="236"/>
                </a:lnTo>
                <a:lnTo>
                  <a:pt x="217" y="247"/>
                </a:lnTo>
                <a:lnTo>
                  <a:pt x="222" y="255"/>
                </a:lnTo>
                <a:lnTo>
                  <a:pt x="231" y="270"/>
                </a:lnTo>
                <a:lnTo>
                  <a:pt x="236" y="274"/>
                </a:lnTo>
                <a:lnTo>
                  <a:pt x="257" y="278"/>
                </a:lnTo>
                <a:lnTo>
                  <a:pt x="268" y="289"/>
                </a:lnTo>
                <a:lnTo>
                  <a:pt x="279" y="294"/>
                </a:lnTo>
                <a:lnTo>
                  <a:pt x="292" y="307"/>
                </a:lnTo>
                <a:lnTo>
                  <a:pt x="306" y="322"/>
                </a:lnTo>
                <a:lnTo>
                  <a:pt x="311" y="336"/>
                </a:lnTo>
                <a:lnTo>
                  <a:pt x="325" y="349"/>
                </a:lnTo>
                <a:lnTo>
                  <a:pt x="339" y="357"/>
                </a:lnTo>
                <a:lnTo>
                  <a:pt x="350" y="369"/>
                </a:lnTo>
                <a:lnTo>
                  <a:pt x="355" y="395"/>
                </a:lnTo>
                <a:lnTo>
                  <a:pt x="365" y="416"/>
                </a:lnTo>
                <a:lnTo>
                  <a:pt x="371" y="421"/>
                </a:lnTo>
                <a:lnTo>
                  <a:pt x="381" y="424"/>
                </a:lnTo>
                <a:lnTo>
                  <a:pt x="384" y="426"/>
                </a:lnTo>
                <a:lnTo>
                  <a:pt x="392" y="437"/>
                </a:lnTo>
                <a:lnTo>
                  <a:pt x="395" y="442"/>
                </a:lnTo>
                <a:lnTo>
                  <a:pt x="412" y="445"/>
                </a:lnTo>
                <a:lnTo>
                  <a:pt x="422" y="449"/>
                </a:lnTo>
                <a:lnTo>
                  <a:pt x="428" y="455"/>
                </a:lnTo>
                <a:lnTo>
                  <a:pt x="430" y="465"/>
                </a:lnTo>
                <a:lnTo>
                  <a:pt x="438" y="471"/>
                </a:lnTo>
                <a:lnTo>
                  <a:pt x="450" y="479"/>
                </a:lnTo>
                <a:lnTo>
                  <a:pt x="461" y="481"/>
                </a:lnTo>
                <a:lnTo>
                  <a:pt x="470" y="486"/>
                </a:lnTo>
                <a:lnTo>
                  <a:pt x="482" y="494"/>
                </a:lnTo>
                <a:lnTo>
                  <a:pt x="493" y="499"/>
                </a:lnTo>
                <a:lnTo>
                  <a:pt x="504" y="507"/>
                </a:lnTo>
                <a:lnTo>
                  <a:pt x="514" y="512"/>
                </a:lnTo>
                <a:lnTo>
                  <a:pt x="523" y="512"/>
                </a:lnTo>
                <a:lnTo>
                  <a:pt x="530" y="523"/>
                </a:lnTo>
                <a:lnTo>
                  <a:pt x="547" y="540"/>
                </a:lnTo>
                <a:lnTo>
                  <a:pt x="555" y="551"/>
                </a:lnTo>
                <a:lnTo>
                  <a:pt x="563" y="556"/>
                </a:lnTo>
                <a:lnTo>
                  <a:pt x="577" y="556"/>
                </a:lnTo>
                <a:lnTo>
                  <a:pt x="593" y="549"/>
                </a:lnTo>
                <a:lnTo>
                  <a:pt x="611" y="549"/>
                </a:lnTo>
                <a:lnTo>
                  <a:pt x="617" y="538"/>
                </a:lnTo>
                <a:lnTo>
                  <a:pt x="628" y="534"/>
                </a:lnTo>
                <a:lnTo>
                  <a:pt x="639" y="538"/>
                </a:lnTo>
                <a:lnTo>
                  <a:pt x="646" y="538"/>
                </a:lnTo>
                <a:lnTo>
                  <a:pt x="655" y="528"/>
                </a:lnTo>
                <a:lnTo>
                  <a:pt x="657" y="496"/>
                </a:lnTo>
                <a:lnTo>
                  <a:pt x="663" y="486"/>
                </a:lnTo>
                <a:lnTo>
                  <a:pt x="663" y="455"/>
                </a:lnTo>
                <a:lnTo>
                  <a:pt x="657" y="445"/>
                </a:lnTo>
                <a:lnTo>
                  <a:pt x="655" y="442"/>
                </a:lnTo>
                <a:lnTo>
                  <a:pt x="650" y="430"/>
                </a:lnTo>
                <a:lnTo>
                  <a:pt x="655" y="414"/>
                </a:lnTo>
                <a:lnTo>
                  <a:pt x="660" y="403"/>
                </a:lnTo>
                <a:lnTo>
                  <a:pt x="645" y="380"/>
                </a:lnTo>
                <a:lnTo>
                  <a:pt x="644" y="379"/>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12" name="Freeform 12">
            <a:extLst>
              <a:ext uri="{FF2B5EF4-FFF2-40B4-BE49-F238E27FC236}">
                <a16:creationId xmlns:a16="http://schemas.microsoft.com/office/drawing/2014/main" id="{526DAB51-2CF4-492A-9E23-36939A94923B}"/>
              </a:ext>
            </a:extLst>
          </p:cNvPr>
          <p:cNvSpPr>
            <a:spLocks/>
          </p:cNvSpPr>
          <p:nvPr>
            <p:custDataLst>
              <p:tags r:id="rId5"/>
            </p:custDataLst>
          </p:nvPr>
        </p:nvSpPr>
        <p:spPr bwMode="auto">
          <a:xfrm rot="120000">
            <a:off x="9207397" y="3553541"/>
            <a:ext cx="200019" cy="188908"/>
          </a:xfrm>
          <a:custGeom>
            <a:avLst/>
            <a:gdLst>
              <a:gd name="T0" fmla="*/ 80 w 122"/>
              <a:gd name="T1" fmla="*/ 7 h 116"/>
              <a:gd name="T2" fmla="*/ 88 w 122"/>
              <a:gd name="T3" fmla="*/ 5 h 116"/>
              <a:gd name="T4" fmla="*/ 101 w 122"/>
              <a:gd name="T5" fmla="*/ 2 h 116"/>
              <a:gd name="T6" fmla="*/ 112 w 122"/>
              <a:gd name="T7" fmla="*/ 0 h 116"/>
              <a:gd name="T8" fmla="*/ 122 w 122"/>
              <a:gd name="T9" fmla="*/ 5 h 116"/>
              <a:gd name="T10" fmla="*/ 122 w 122"/>
              <a:gd name="T11" fmla="*/ 13 h 116"/>
              <a:gd name="T12" fmla="*/ 120 w 122"/>
              <a:gd name="T13" fmla="*/ 26 h 116"/>
              <a:gd name="T14" fmla="*/ 113 w 122"/>
              <a:gd name="T15" fmla="*/ 41 h 116"/>
              <a:gd name="T16" fmla="*/ 109 w 122"/>
              <a:gd name="T17" fmla="*/ 59 h 116"/>
              <a:gd name="T18" fmla="*/ 106 w 122"/>
              <a:gd name="T19" fmla="*/ 77 h 116"/>
              <a:gd name="T20" fmla="*/ 92 w 122"/>
              <a:gd name="T21" fmla="*/ 90 h 116"/>
              <a:gd name="T22" fmla="*/ 88 w 122"/>
              <a:gd name="T23" fmla="*/ 100 h 116"/>
              <a:gd name="T24" fmla="*/ 73 w 122"/>
              <a:gd name="T25" fmla="*/ 108 h 116"/>
              <a:gd name="T26" fmla="*/ 48 w 122"/>
              <a:gd name="T27" fmla="*/ 116 h 116"/>
              <a:gd name="T28" fmla="*/ 29 w 122"/>
              <a:gd name="T29" fmla="*/ 110 h 116"/>
              <a:gd name="T30" fmla="*/ 21 w 122"/>
              <a:gd name="T31" fmla="*/ 100 h 116"/>
              <a:gd name="T32" fmla="*/ 15 w 122"/>
              <a:gd name="T33" fmla="*/ 90 h 116"/>
              <a:gd name="T34" fmla="*/ 0 w 122"/>
              <a:gd name="T35" fmla="*/ 69 h 116"/>
              <a:gd name="T36" fmla="*/ 15 w 122"/>
              <a:gd name="T37" fmla="*/ 49 h 116"/>
              <a:gd name="T38" fmla="*/ 26 w 122"/>
              <a:gd name="T39" fmla="*/ 41 h 116"/>
              <a:gd name="T40" fmla="*/ 37 w 122"/>
              <a:gd name="T41" fmla="*/ 31 h 116"/>
              <a:gd name="T42" fmla="*/ 48 w 122"/>
              <a:gd name="T43" fmla="*/ 23 h 116"/>
              <a:gd name="T44" fmla="*/ 58 w 122"/>
              <a:gd name="T45" fmla="*/ 18 h 116"/>
              <a:gd name="T46" fmla="*/ 71 w 122"/>
              <a:gd name="T47" fmla="*/ 13 h 116"/>
              <a:gd name="T48" fmla="*/ 79 w 122"/>
              <a:gd name="T49" fmla="*/ 7 h 116"/>
              <a:gd name="T50" fmla="*/ 80 w 122"/>
              <a:gd name="T51" fmla="*/ 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2" h="116">
                <a:moveTo>
                  <a:pt x="80" y="7"/>
                </a:moveTo>
                <a:lnTo>
                  <a:pt x="88" y="5"/>
                </a:lnTo>
                <a:lnTo>
                  <a:pt x="101" y="2"/>
                </a:lnTo>
                <a:lnTo>
                  <a:pt x="112" y="0"/>
                </a:lnTo>
                <a:lnTo>
                  <a:pt x="122" y="5"/>
                </a:lnTo>
                <a:lnTo>
                  <a:pt x="122" y="13"/>
                </a:lnTo>
                <a:lnTo>
                  <a:pt x="120" y="26"/>
                </a:lnTo>
                <a:lnTo>
                  <a:pt x="113" y="41"/>
                </a:lnTo>
                <a:lnTo>
                  <a:pt x="109" y="59"/>
                </a:lnTo>
                <a:lnTo>
                  <a:pt x="106" y="77"/>
                </a:lnTo>
                <a:lnTo>
                  <a:pt x="92" y="90"/>
                </a:lnTo>
                <a:lnTo>
                  <a:pt x="88" y="100"/>
                </a:lnTo>
                <a:lnTo>
                  <a:pt x="73" y="108"/>
                </a:lnTo>
                <a:lnTo>
                  <a:pt x="48" y="116"/>
                </a:lnTo>
                <a:lnTo>
                  <a:pt x="29" y="110"/>
                </a:lnTo>
                <a:lnTo>
                  <a:pt x="21" y="100"/>
                </a:lnTo>
                <a:lnTo>
                  <a:pt x="15" y="90"/>
                </a:lnTo>
                <a:lnTo>
                  <a:pt x="0" y="69"/>
                </a:lnTo>
                <a:lnTo>
                  <a:pt x="15" y="49"/>
                </a:lnTo>
                <a:lnTo>
                  <a:pt x="26" y="41"/>
                </a:lnTo>
                <a:lnTo>
                  <a:pt x="37" y="31"/>
                </a:lnTo>
                <a:lnTo>
                  <a:pt x="48" y="23"/>
                </a:lnTo>
                <a:lnTo>
                  <a:pt x="58" y="18"/>
                </a:lnTo>
                <a:lnTo>
                  <a:pt x="71" y="13"/>
                </a:lnTo>
                <a:lnTo>
                  <a:pt x="79" y="7"/>
                </a:lnTo>
                <a:lnTo>
                  <a:pt x="80" y="7"/>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13" name="Freeform 13">
            <a:extLst>
              <a:ext uri="{FF2B5EF4-FFF2-40B4-BE49-F238E27FC236}">
                <a16:creationId xmlns:a16="http://schemas.microsoft.com/office/drawing/2014/main" id="{CC51D1B1-8DA2-478B-87EC-BFE65BD581B4}"/>
              </a:ext>
            </a:extLst>
          </p:cNvPr>
          <p:cNvSpPr>
            <a:spLocks/>
          </p:cNvSpPr>
          <p:nvPr>
            <p:custDataLst>
              <p:tags r:id="rId6"/>
            </p:custDataLst>
          </p:nvPr>
        </p:nvSpPr>
        <p:spPr bwMode="auto">
          <a:xfrm rot="120000">
            <a:off x="7808849" y="4420291"/>
            <a:ext cx="38099" cy="61911"/>
          </a:xfrm>
          <a:custGeom>
            <a:avLst/>
            <a:gdLst>
              <a:gd name="T0" fmla="*/ 16 w 24"/>
              <a:gd name="T1" fmla="*/ 1 h 37"/>
              <a:gd name="T2" fmla="*/ 21 w 24"/>
              <a:gd name="T3" fmla="*/ 14 h 37"/>
              <a:gd name="T4" fmla="*/ 24 w 24"/>
              <a:gd name="T5" fmla="*/ 24 h 37"/>
              <a:gd name="T6" fmla="*/ 21 w 24"/>
              <a:gd name="T7" fmla="*/ 37 h 37"/>
              <a:gd name="T8" fmla="*/ 19 w 24"/>
              <a:gd name="T9" fmla="*/ 37 h 37"/>
              <a:gd name="T10" fmla="*/ 8 w 24"/>
              <a:gd name="T11" fmla="*/ 26 h 37"/>
              <a:gd name="T12" fmla="*/ 3 w 24"/>
              <a:gd name="T13" fmla="*/ 16 h 37"/>
              <a:gd name="T14" fmla="*/ 0 w 24"/>
              <a:gd name="T15" fmla="*/ 4 h 37"/>
              <a:gd name="T16" fmla="*/ 17 w 24"/>
              <a:gd name="T17" fmla="*/ 0 h 37"/>
              <a:gd name="T18" fmla="*/ 16 w 24"/>
              <a:gd name="T19" fmla="*/ 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37">
                <a:moveTo>
                  <a:pt x="16" y="1"/>
                </a:moveTo>
                <a:lnTo>
                  <a:pt x="21" y="14"/>
                </a:lnTo>
                <a:lnTo>
                  <a:pt x="24" y="24"/>
                </a:lnTo>
                <a:lnTo>
                  <a:pt x="21" y="37"/>
                </a:lnTo>
                <a:lnTo>
                  <a:pt x="19" y="37"/>
                </a:lnTo>
                <a:lnTo>
                  <a:pt x="8" y="26"/>
                </a:lnTo>
                <a:lnTo>
                  <a:pt x="3" y="16"/>
                </a:lnTo>
                <a:lnTo>
                  <a:pt x="0" y="4"/>
                </a:lnTo>
                <a:lnTo>
                  <a:pt x="17" y="0"/>
                </a:lnTo>
                <a:lnTo>
                  <a:pt x="16" y="1"/>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14" name="Freeform 14">
            <a:extLst>
              <a:ext uri="{FF2B5EF4-FFF2-40B4-BE49-F238E27FC236}">
                <a16:creationId xmlns:a16="http://schemas.microsoft.com/office/drawing/2014/main" id="{EFC87638-328A-4F19-8F78-DBA45D0116CD}"/>
              </a:ext>
            </a:extLst>
          </p:cNvPr>
          <p:cNvSpPr>
            <a:spLocks/>
          </p:cNvSpPr>
          <p:nvPr>
            <p:custDataLst>
              <p:tags r:id="rId7"/>
            </p:custDataLst>
          </p:nvPr>
        </p:nvSpPr>
        <p:spPr bwMode="auto">
          <a:xfrm rot="120000">
            <a:off x="7767576" y="4480614"/>
            <a:ext cx="39686" cy="41274"/>
          </a:xfrm>
          <a:custGeom>
            <a:avLst/>
            <a:gdLst>
              <a:gd name="T0" fmla="*/ 8 w 25"/>
              <a:gd name="T1" fmla="*/ 0 h 25"/>
              <a:gd name="T2" fmla="*/ 20 w 25"/>
              <a:gd name="T3" fmla="*/ 5 h 25"/>
              <a:gd name="T4" fmla="*/ 23 w 25"/>
              <a:gd name="T5" fmla="*/ 7 h 25"/>
              <a:gd name="T6" fmla="*/ 25 w 25"/>
              <a:gd name="T7" fmla="*/ 14 h 25"/>
              <a:gd name="T8" fmla="*/ 23 w 25"/>
              <a:gd name="T9" fmla="*/ 25 h 25"/>
              <a:gd name="T10" fmla="*/ 14 w 25"/>
              <a:gd name="T11" fmla="*/ 25 h 25"/>
              <a:gd name="T12" fmla="*/ 3 w 25"/>
              <a:gd name="T13" fmla="*/ 22 h 25"/>
              <a:gd name="T14" fmla="*/ 0 w 25"/>
              <a:gd name="T15" fmla="*/ 14 h 25"/>
              <a:gd name="T16" fmla="*/ 3 w 25"/>
              <a:gd name="T17" fmla="*/ 7 h 25"/>
              <a:gd name="T18" fmla="*/ 8 w 25"/>
              <a:gd name="T1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25">
                <a:moveTo>
                  <a:pt x="8" y="0"/>
                </a:moveTo>
                <a:lnTo>
                  <a:pt x="20" y="5"/>
                </a:lnTo>
                <a:lnTo>
                  <a:pt x="23" y="7"/>
                </a:lnTo>
                <a:lnTo>
                  <a:pt x="25" y="14"/>
                </a:lnTo>
                <a:lnTo>
                  <a:pt x="23" y="25"/>
                </a:lnTo>
                <a:lnTo>
                  <a:pt x="14" y="25"/>
                </a:lnTo>
                <a:lnTo>
                  <a:pt x="3" y="22"/>
                </a:lnTo>
                <a:lnTo>
                  <a:pt x="0" y="14"/>
                </a:lnTo>
                <a:lnTo>
                  <a:pt x="3" y="7"/>
                </a:lnTo>
                <a:lnTo>
                  <a:pt x="8" y="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15" name="Freeform 15">
            <a:extLst>
              <a:ext uri="{FF2B5EF4-FFF2-40B4-BE49-F238E27FC236}">
                <a16:creationId xmlns:a16="http://schemas.microsoft.com/office/drawing/2014/main" id="{85255442-59FA-45E9-B20B-4CC68A2A8CFB}"/>
              </a:ext>
            </a:extLst>
          </p:cNvPr>
          <p:cNvSpPr>
            <a:spLocks/>
          </p:cNvSpPr>
          <p:nvPr>
            <p:custDataLst>
              <p:tags r:id="rId8"/>
            </p:custDataLst>
          </p:nvPr>
        </p:nvSpPr>
        <p:spPr bwMode="auto">
          <a:xfrm rot="120000">
            <a:off x="6527775" y="4488551"/>
            <a:ext cx="233356" cy="333365"/>
          </a:xfrm>
          <a:custGeom>
            <a:avLst/>
            <a:gdLst>
              <a:gd name="T0" fmla="*/ 42 w 143"/>
              <a:gd name="T1" fmla="*/ 0 h 205"/>
              <a:gd name="T2" fmla="*/ 52 w 143"/>
              <a:gd name="T3" fmla="*/ 4 h 205"/>
              <a:gd name="T4" fmla="*/ 58 w 143"/>
              <a:gd name="T5" fmla="*/ 8 h 205"/>
              <a:gd name="T6" fmla="*/ 63 w 143"/>
              <a:gd name="T7" fmla="*/ 19 h 205"/>
              <a:gd name="T8" fmla="*/ 70 w 143"/>
              <a:gd name="T9" fmla="*/ 29 h 205"/>
              <a:gd name="T10" fmla="*/ 80 w 143"/>
              <a:gd name="T11" fmla="*/ 45 h 205"/>
              <a:gd name="T12" fmla="*/ 92 w 143"/>
              <a:gd name="T13" fmla="*/ 49 h 205"/>
              <a:gd name="T14" fmla="*/ 96 w 143"/>
              <a:gd name="T15" fmla="*/ 55 h 205"/>
              <a:gd name="T16" fmla="*/ 99 w 143"/>
              <a:gd name="T17" fmla="*/ 65 h 205"/>
              <a:gd name="T18" fmla="*/ 105 w 143"/>
              <a:gd name="T19" fmla="*/ 76 h 205"/>
              <a:gd name="T20" fmla="*/ 113 w 143"/>
              <a:gd name="T21" fmla="*/ 88 h 205"/>
              <a:gd name="T22" fmla="*/ 124 w 143"/>
              <a:gd name="T23" fmla="*/ 96 h 205"/>
              <a:gd name="T24" fmla="*/ 132 w 143"/>
              <a:gd name="T25" fmla="*/ 109 h 205"/>
              <a:gd name="T26" fmla="*/ 137 w 143"/>
              <a:gd name="T27" fmla="*/ 122 h 205"/>
              <a:gd name="T28" fmla="*/ 140 w 143"/>
              <a:gd name="T29" fmla="*/ 133 h 205"/>
              <a:gd name="T30" fmla="*/ 140 w 143"/>
              <a:gd name="T31" fmla="*/ 143 h 205"/>
              <a:gd name="T32" fmla="*/ 143 w 143"/>
              <a:gd name="T33" fmla="*/ 153 h 205"/>
              <a:gd name="T34" fmla="*/ 143 w 143"/>
              <a:gd name="T35" fmla="*/ 166 h 205"/>
              <a:gd name="T36" fmla="*/ 140 w 143"/>
              <a:gd name="T37" fmla="*/ 172 h 205"/>
              <a:gd name="T38" fmla="*/ 132 w 143"/>
              <a:gd name="T39" fmla="*/ 179 h 205"/>
              <a:gd name="T40" fmla="*/ 121 w 143"/>
              <a:gd name="T41" fmla="*/ 182 h 205"/>
              <a:gd name="T42" fmla="*/ 119 w 143"/>
              <a:gd name="T43" fmla="*/ 185 h 205"/>
              <a:gd name="T44" fmla="*/ 105 w 143"/>
              <a:gd name="T45" fmla="*/ 194 h 205"/>
              <a:gd name="T46" fmla="*/ 92 w 143"/>
              <a:gd name="T47" fmla="*/ 200 h 205"/>
              <a:gd name="T48" fmla="*/ 55 w 143"/>
              <a:gd name="T49" fmla="*/ 205 h 205"/>
              <a:gd name="T50" fmla="*/ 44 w 143"/>
              <a:gd name="T51" fmla="*/ 202 h 205"/>
              <a:gd name="T52" fmla="*/ 30 w 143"/>
              <a:gd name="T53" fmla="*/ 198 h 205"/>
              <a:gd name="T54" fmla="*/ 19 w 143"/>
              <a:gd name="T55" fmla="*/ 187 h 205"/>
              <a:gd name="T56" fmla="*/ 18 w 143"/>
              <a:gd name="T57" fmla="*/ 176 h 205"/>
              <a:gd name="T58" fmla="*/ 14 w 143"/>
              <a:gd name="T59" fmla="*/ 164 h 205"/>
              <a:gd name="T60" fmla="*/ 11 w 143"/>
              <a:gd name="T61" fmla="*/ 125 h 205"/>
              <a:gd name="T62" fmla="*/ 3 w 143"/>
              <a:gd name="T63" fmla="*/ 114 h 205"/>
              <a:gd name="T64" fmla="*/ 0 w 143"/>
              <a:gd name="T65" fmla="*/ 91 h 205"/>
              <a:gd name="T66" fmla="*/ 6 w 143"/>
              <a:gd name="T67" fmla="*/ 80 h 205"/>
              <a:gd name="T68" fmla="*/ 11 w 143"/>
              <a:gd name="T69" fmla="*/ 68 h 205"/>
              <a:gd name="T70" fmla="*/ 19 w 143"/>
              <a:gd name="T71" fmla="*/ 55 h 205"/>
              <a:gd name="T72" fmla="*/ 30 w 143"/>
              <a:gd name="T73" fmla="*/ 42 h 205"/>
              <a:gd name="T74" fmla="*/ 38 w 143"/>
              <a:gd name="T75" fmla="*/ 31 h 205"/>
              <a:gd name="T76" fmla="*/ 42 w 143"/>
              <a:gd name="T77"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3" h="205">
                <a:moveTo>
                  <a:pt x="42" y="0"/>
                </a:moveTo>
                <a:lnTo>
                  <a:pt x="52" y="4"/>
                </a:lnTo>
                <a:lnTo>
                  <a:pt x="58" y="8"/>
                </a:lnTo>
                <a:lnTo>
                  <a:pt x="63" y="19"/>
                </a:lnTo>
                <a:lnTo>
                  <a:pt x="70" y="29"/>
                </a:lnTo>
                <a:lnTo>
                  <a:pt x="80" y="45"/>
                </a:lnTo>
                <a:lnTo>
                  <a:pt x="92" y="49"/>
                </a:lnTo>
                <a:lnTo>
                  <a:pt x="96" y="55"/>
                </a:lnTo>
                <a:lnTo>
                  <a:pt x="99" y="65"/>
                </a:lnTo>
                <a:lnTo>
                  <a:pt x="105" y="76"/>
                </a:lnTo>
                <a:lnTo>
                  <a:pt x="113" y="88"/>
                </a:lnTo>
                <a:lnTo>
                  <a:pt x="124" y="96"/>
                </a:lnTo>
                <a:lnTo>
                  <a:pt x="132" y="109"/>
                </a:lnTo>
                <a:lnTo>
                  <a:pt x="137" y="122"/>
                </a:lnTo>
                <a:lnTo>
                  <a:pt x="140" y="133"/>
                </a:lnTo>
                <a:lnTo>
                  <a:pt x="140" y="143"/>
                </a:lnTo>
                <a:lnTo>
                  <a:pt x="143" y="153"/>
                </a:lnTo>
                <a:lnTo>
                  <a:pt x="143" y="166"/>
                </a:lnTo>
                <a:lnTo>
                  <a:pt x="140" y="172"/>
                </a:lnTo>
                <a:lnTo>
                  <a:pt x="132" y="179"/>
                </a:lnTo>
                <a:lnTo>
                  <a:pt x="121" y="182"/>
                </a:lnTo>
                <a:lnTo>
                  <a:pt x="119" y="185"/>
                </a:lnTo>
                <a:lnTo>
                  <a:pt x="105" y="194"/>
                </a:lnTo>
                <a:lnTo>
                  <a:pt x="92" y="200"/>
                </a:lnTo>
                <a:lnTo>
                  <a:pt x="55" y="205"/>
                </a:lnTo>
                <a:lnTo>
                  <a:pt x="44" y="202"/>
                </a:lnTo>
                <a:lnTo>
                  <a:pt x="30" y="198"/>
                </a:lnTo>
                <a:lnTo>
                  <a:pt x="19" y="187"/>
                </a:lnTo>
                <a:lnTo>
                  <a:pt x="18" y="176"/>
                </a:lnTo>
                <a:lnTo>
                  <a:pt x="14" y="164"/>
                </a:lnTo>
                <a:lnTo>
                  <a:pt x="11" y="125"/>
                </a:lnTo>
                <a:lnTo>
                  <a:pt x="3" y="114"/>
                </a:lnTo>
                <a:lnTo>
                  <a:pt x="0" y="91"/>
                </a:lnTo>
                <a:lnTo>
                  <a:pt x="6" y="80"/>
                </a:lnTo>
                <a:lnTo>
                  <a:pt x="11" y="68"/>
                </a:lnTo>
                <a:lnTo>
                  <a:pt x="19" y="55"/>
                </a:lnTo>
                <a:lnTo>
                  <a:pt x="30" y="42"/>
                </a:lnTo>
                <a:lnTo>
                  <a:pt x="38" y="31"/>
                </a:lnTo>
                <a:lnTo>
                  <a:pt x="42"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16" name="Freeform 16">
            <a:extLst>
              <a:ext uri="{FF2B5EF4-FFF2-40B4-BE49-F238E27FC236}">
                <a16:creationId xmlns:a16="http://schemas.microsoft.com/office/drawing/2014/main" id="{89C66991-58BC-4446-9D6C-4E91B461F525}"/>
              </a:ext>
            </a:extLst>
          </p:cNvPr>
          <p:cNvSpPr>
            <a:spLocks/>
          </p:cNvSpPr>
          <p:nvPr>
            <p:custDataLst>
              <p:tags r:id="rId9"/>
            </p:custDataLst>
          </p:nvPr>
        </p:nvSpPr>
        <p:spPr bwMode="auto">
          <a:xfrm rot="120000">
            <a:off x="7799325" y="4598084"/>
            <a:ext cx="34924" cy="31749"/>
          </a:xfrm>
          <a:custGeom>
            <a:avLst/>
            <a:gdLst>
              <a:gd name="T0" fmla="*/ 10 w 22"/>
              <a:gd name="T1" fmla="*/ 0 h 20"/>
              <a:gd name="T2" fmla="*/ 14 w 22"/>
              <a:gd name="T3" fmla="*/ 0 h 20"/>
              <a:gd name="T4" fmla="*/ 16 w 22"/>
              <a:gd name="T5" fmla="*/ 5 h 20"/>
              <a:gd name="T6" fmla="*/ 22 w 22"/>
              <a:gd name="T7" fmla="*/ 12 h 20"/>
              <a:gd name="T8" fmla="*/ 19 w 22"/>
              <a:gd name="T9" fmla="*/ 14 h 20"/>
              <a:gd name="T10" fmla="*/ 8 w 22"/>
              <a:gd name="T11" fmla="*/ 20 h 20"/>
              <a:gd name="T12" fmla="*/ 3 w 22"/>
              <a:gd name="T13" fmla="*/ 17 h 20"/>
              <a:gd name="T14" fmla="*/ 0 w 22"/>
              <a:gd name="T15" fmla="*/ 14 h 20"/>
              <a:gd name="T16" fmla="*/ 0 w 22"/>
              <a:gd name="T17" fmla="*/ 7 h 20"/>
              <a:gd name="T18" fmla="*/ 3 w 22"/>
              <a:gd name="T19" fmla="*/ 5 h 20"/>
              <a:gd name="T20" fmla="*/ 10 w 22"/>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20">
                <a:moveTo>
                  <a:pt x="10" y="0"/>
                </a:moveTo>
                <a:lnTo>
                  <a:pt x="14" y="0"/>
                </a:lnTo>
                <a:lnTo>
                  <a:pt x="16" y="5"/>
                </a:lnTo>
                <a:lnTo>
                  <a:pt x="22" y="12"/>
                </a:lnTo>
                <a:lnTo>
                  <a:pt x="19" y="14"/>
                </a:lnTo>
                <a:lnTo>
                  <a:pt x="8" y="20"/>
                </a:lnTo>
                <a:lnTo>
                  <a:pt x="3" y="17"/>
                </a:lnTo>
                <a:lnTo>
                  <a:pt x="0" y="14"/>
                </a:lnTo>
                <a:lnTo>
                  <a:pt x="0" y="7"/>
                </a:lnTo>
                <a:lnTo>
                  <a:pt x="3" y="5"/>
                </a:lnTo>
                <a:lnTo>
                  <a:pt x="10" y="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17" name="Freeform 17">
            <a:extLst>
              <a:ext uri="{FF2B5EF4-FFF2-40B4-BE49-F238E27FC236}">
                <a16:creationId xmlns:a16="http://schemas.microsoft.com/office/drawing/2014/main" id="{002D3295-EF63-4C8C-9C13-BF882428D33F}"/>
              </a:ext>
            </a:extLst>
          </p:cNvPr>
          <p:cNvSpPr>
            <a:spLocks/>
          </p:cNvSpPr>
          <p:nvPr>
            <p:custDataLst>
              <p:tags r:id="rId10"/>
            </p:custDataLst>
          </p:nvPr>
        </p:nvSpPr>
        <p:spPr bwMode="auto">
          <a:xfrm rot="120000">
            <a:off x="7858061" y="4720320"/>
            <a:ext cx="22224" cy="39686"/>
          </a:xfrm>
          <a:custGeom>
            <a:avLst/>
            <a:gdLst>
              <a:gd name="T0" fmla="*/ 5 w 13"/>
              <a:gd name="T1" fmla="*/ 0 h 24"/>
              <a:gd name="T2" fmla="*/ 13 w 13"/>
              <a:gd name="T3" fmla="*/ 19 h 24"/>
              <a:gd name="T4" fmla="*/ 10 w 13"/>
              <a:gd name="T5" fmla="*/ 24 h 24"/>
              <a:gd name="T6" fmla="*/ 8 w 13"/>
              <a:gd name="T7" fmla="*/ 24 h 24"/>
              <a:gd name="T8" fmla="*/ 5 w 13"/>
              <a:gd name="T9" fmla="*/ 21 h 24"/>
              <a:gd name="T10" fmla="*/ 0 w 13"/>
              <a:gd name="T11" fmla="*/ 6 h 24"/>
              <a:gd name="T12" fmla="*/ 2 w 13"/>
              <a:gd name="T13" fmla="*/ 0 h 24"/>
              <a:gd name="T14" fmla="*/ 5 w 1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4">
                <a:moveTo>
                  <a:pt x="5" y="0"/>
                </a:moveTo>
                <a:lnTo>
                  <a:pt x="13" y="19"/>
                </a:lnTo>
                <a:lnTo>
                  <a:pt x="10" y="24"/>
                </a:lnTo>
                <a:lnTo>
                  <a:pt x="8" y="24"/>
                </a:lnTo>
                <a:lnTo>
                  <a:pt x="5" y="21"/>
                </a:lnTo>
                <a:lnTo>
                  <a:pt x="0" y="6"/>
                </a:lnTo>
                <a:lnTo>
                  <a:pt x="2" y="0"/>
                </a:lnTo>
                <a:lnTo>
                  <a:pt x="5" y="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18" name="Freeform 18">
            <a:extLst>
              <a:ext uri="{FF2B5EF4-FFF2-40B4-BE49-F238E27FC236}">
                <a16:creationId xmlns:a16="http://schemas.microsoft.com/office/drawing/2014/main" id="{AC8D6798-29A4-4C62-B0AF-77498D44D170}"/>
              </a:ext>
            </a:extLst>
          </p:cNvPr>
          <p:cNvSpPr>
            <a:spLocks/>
          </p:cNvSpPr>
          <p:nvPr>
            <p:custDataLst>
              <p:tags r:id="rId11"/>
            </p:custDataLst>
          </p:nvPr>
        </p:nvSpPr>
        <p:spPr bwMode="auto">
          <a:xfrm rot="120000">
            <a:off x="7891397" y="4696507"/>
            <a:ext cx="22224" cy="23813"/>
          </a:xfrm>
          <a:custGeom>
            <a:avLst/>
            <a:gdLst>
              <a:gd name="T0" fmla="*/ 6 w 14"/>
              <a:gd name="T1" fmla="*/ 0 h 16"/>
              <a:gd name="T2" fmla="*/ 14 w 14"/>
              <a:gd name="T3" fmla="*/ 3 h 16"/>
              <a:gd name="T4" fmla="*/ 14 w 14"/>
              <a:gd name="T5" fmla="*/ 13 h 16"/>
              <a:gd name="T6" fmla="*/ 10 w 14"/>
              <a:gd name="T7" fmla="*/ 16 h 16"/>
              <a:gd name="T8" fmla="*/ 3 w 14"/>
              <a:gd name="T9" fmla="*/ 16 h 16"/>
              <a:gd name="T10" fmla="*/ 0 w 14"/>
              <a:gd name="T11" fmla="*/ 13 h 16"/>
              <a:gd name="T12" fmla="*/ 0 w 14"/>
              <a:gd name="T13" fmla="*/ 3 h 16"/>
              <a:gd name="T14" fmla="*/ 6 w 14"/>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6">
                <a:moveTo>
                  <a:pt x="6" y="0"/>
                </a:moveTo>
                <a:lnTo>
                  <a:pt x="14" y="3"/>
                </a:lnTo>
                <a:lnTo>
                  <a:pt x="14" y="13"/>
                </a:lnTo>
                <a:lnTo>
                  <a:pt x="10" y="16"/>
                </a:lnTo>
                <a:lnTo>
                  <a:pt x="3" y="16"/>
                </a:lnTo>
                <a:lnTo>
                  <a:pt x="0" y="13"/>
                </a:lnTo>
                <a:lnTo>
                  <a:pt x="0" y="3"/>
                </a:lnTo>
                <a:lnTo>
                  <a:pt x="6" y="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19" name="Freeform 19">
            <a:extLst>
              <a:ext uri="{FF2B5EF4-FFF2-40B4-BE49-F238E27FC236}">
                <a16:creationId xmlns:a16="http://schemas.microsoft.com/office/drawing/2014/main" id="{6CFB5270-52E0-482B-B092-179529BEAFC8}"/>
              </a:ext>
            </a:extLst>
          </p:cNvPr>
          <p:cNvSpPr>
            <a:spLocks/>
          </p:cNvSpPr>
          <p:nvPr>
            <p:custDataLst>
              <p:tags r:id="rId12"/>
            </p:custDataLst>
          </p:nvPr>
        </p:nvSpPr>
        <p:spPr bwMode="auto">
          <a:xfrm rot="120000">
            <a:off x="7883459" y="4764768"/>
            <a:ext cx="63498" cy="73023"/>
          </a:xfrm>
          <a:custGeom>
            <a:avLst/>
            <a:gdLst>
              <a:gd name="T0" fmla="*/ 0 w 40"/>
              <a:gd name="T1" fmla="*/ 0 h 44"/>
              <a:gd name="T2" fmla="*/ 13 w 40"/>
              <a:gd name="T3" fmla="*/ 0 h 44"/>
              <a:gd name="T4" fmla="*/ 16 w 40"/>
              <a:gd name="T5" fmla="*/ 2 h 44"/>
              <a:gd name="T6" fmla="*/ 19 w 40"/>
              <a:gd name="T7" fmla="*/ 13 h 44"/>
              <a:gd name="T8" fmla="*/ 26 w 40"/>
              <a:gd name="T9" fmla="*/ 26 h 44"/>
              <a:gd name="T10" fmla="*/ 26 w 40"/>
              <a:gd name="T11" fmla="*/ 42 h 44"/>
              <a:gd name="T12" fmla="*/ 40 w 40"/>
              <a:gd name="T13" fmla="*/ 42 h 44"/>
              <a:gd name="T14" fmla="*/ 40 w 40"/>
              <a:gd name="T15" fmla="*/ 44 h 44"/>
              <a:gd name="T16" fmla="*/ 21 w 40"/>
              <a:gd name="T17" fmla="*/ 44 h 44"/>
              <a:gd name="T18" fmla="*/ 16 w 40"/>
              <a:gd name="T19" fmla="*/ 33 h 44"/>
              <a:gd name="T20" fmla="*/ 5 w 40"/>
              <a:gd name="T21" fmla="*/ 26 h 44"/>
              <a:gd name="T22" fmla="*/ 0 w 40"/>
              <a:gd name="T23" fmla="*/ 15 h 44"/>
              <a:gd name="T24" fmla="*/ 0 w 40"/>
              <a:gd name="T2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 h="44">
                <a:moveTo>
                  <a:pt x="0" y="0"/>
                </a:moveTo>
                <a:lnTo>
                  <a:pt x="13" y="0"/>
                </a:lnTo>
                <a:lnTo>
                  <a:pt x="16" y="2"/>
                </a:lnTo>
                <a:lnTo>
                  <a:pt x="19" y="13"/>
                </a:lnTo>
                <a:lnTo>
                  <a:pt x="26" y="26"/>
                </a:lnTo>
                <a:lnTo>
                  <a:pt x="26" y="42"/>
                </a:lnTo>
                <a:lnTo>
                  <a:pt x="40" y="42"/>
                </a:lnTo>
                <a:lnTo>
                  <a:pt x="40" y="44"/>
                </a:lnTo>
                <a:lnTo>
                  <a:pt x="21" y="44"/>
                </a:lnTo>
                <a:lnTo>
                  <a:pt x="16" y="33"/>
                </a:lnTo>
                <a:lnTo>
                  <a:pt x="5" y="26"/>
                </a:lnTo>
                <a:lnTo>
                  <a:pt x="0" y="15"/>
                </a:lnTo>
                <a:lnTo>
                  <a:pt x="0" y="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20" name="Freeform 20">
            <a:extLst>
              <a:ext uri="{FF2B5EF4-FFF2-40B4-BE49-F238E27FC236}">
                <a16:creationId xmlns:a16="http://schemas.microsoft.com/office/drawing/2014/main" id="{B62BC567-F2F8-4529-9501-5F68306E79B6}"/>
              </a:ext>
            </a:extLst>
          </p:cNvPr>
          <p:cNvSpPr>
            <a:spLocks/>
          </p:cNvSpPr>
          <p:nvPr>
            <p:custDataLst>
              <p:tags r:id="rId13"/>
            </p:custDataLst>
          </p:nvPr>
        </p:nvSpPr>
        <p:spPr bwMode="auto">
          <a:xfrm rot="120000">
            <a:off x="7804087" y="4255194"/>
            <a:ext cx="36511" cy="82548"/>
          </a:xfrm>
          <a:custGeom>
            <a:avLst/>
            <a:gdLst>
              <a:gd name="T0" fmla="*/ 23 w 23"/>
              <a:gd name="T1" fmla="*/ 50 h 50"/>
              <a:gd name="T2" fmla="*/ 12 w 23"/>
              <a:gd name="T3" fmla="*/ 43 h 50"/>
              <a:gd name="T4" fmla="*/ 4 w 23"/>
              <a:gd name="T5" fmla="*/ 21 h 50"/>
              <a:gd name="T6" fmla="*/ 0 w 23"/>
              <a:gd name="T7" fmla="*/ 13 h 50"/>
              <a:gd name="T8" fmla="*/ 0 w 23"/>
              <a:gd name="T9" fmla="*/ 5 h 50"/>
              <a:gd name="T10" fmla="*/ 9 w 23"/>
              <a:gd name="T11" fmla="*/ 0 h 50"/>
              <a:gd name="T12" fmla="*/ 17 w 23"/>
              <a:gd name="T13" fmla="*/ 0 h 50"/>
              <a:gd name="T14" fmla="*/ 21 w 23"/>
              <a:gd name="T15" fmla="*/ 7 h 50"/>
              <a:gd name="T16" fmla="*/ 23 w 23"/>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50">
                <a:moveTo>
                  <a:pt x="23" y="50"/>
                </a:moveTo>
                <a:lnTo>
                  <a:pt x="12" y="43"/>
                </a:lnTo>
                <a:lnTo>
                  <a:pt x="4" y="21"/>
                </a:lnTo>
                <a:lnTo>
                  <a:pt x="0" y="13"/>
                </a:lnTo>
                <a:lnTo>
                  <a:pt x="0" y="5"/>
                </a:lnTo>
                <a:lnTo>
                  <a:pt x="9" y="0"/>
                </a:lnTo>
                <a:lnTo>
                  <a:pt x="17" y="0"/>
                </a:lnTo>
                <a:lnTo>
                  <a:pt x="21" y="7"/>
                </a:lnTo>
                <a:lnTo>
                  <a:pt x="23" y="5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21" name="Freeform 21">
            <a:extLst>
              <a:ext uri="{FF2B5EF4-FFF2-40B4-BE49-F238E27FC236}">
                <a16:creationId xmlns:a16="http://schemas.microsoft.com/office/drawing/2014/main" id="{74C51F4D-6D26-4033-84B5-3384E1938B5A}"/>
              </a:ext>
            </a:extLst>
          </p:cNvPr>
          <p:cNvSpPr>
            <a:spLocks/>
          </p:cNvSpPr>
          <p:nvPr>
            <p:custDataLst>
              <p:tags r:id="rId14"/>
            </p:custDataLst>
          </p:nvPr>
        </p:nvSpPr>
        <p:spPr bwMode="auto">
          <a:xfrm rot="120000">
            <a:off x="7797736" y="4345679"/>
            <a:ext cx="44448" cy="69848"/>
          </a:xfrm>
          <a:custGeom>
            <a:avLst/>
            <a:gdLst>
              <a:gd name="T0" fmla="*/ 14 w 28"/>
              <a:gd name="T1" fmla="*/ 0 h 44"/>
              <a:gd name="T2" fmla="*/ 3 w 28"/>
              <a:gd name="T3" fmla="*/ 5 h 44"/>
              <a:gd name="T4" fmla="*/ 0 w 28"/>
              <a:gd name="T5" fmla="*/ 8 h 44"/>
              <a:gd name="T6" fmla="*/ 0 w 28"/>
              <a:gd name="T7" fmla="*/ 28 h 44"/>
              <a:gd name="T8" fmla="*/ 3 w 28"/>
              <a:gd name="T9" fmla="*/ 30 h 44"/>
              <a:gd name="T10" fmla="*/ 14 w 28"/>
              <a:gd name="T11" fmla="*/ 33 h 44"/>
              <a:gd name="T12" fmla="*/ 20 w 28"/>
              <a:gd name="T13" fmla="*/ 41 h 44"/>
              <a:gd name="T14" fmla="*/ 20 w 28"/>
              <a:gd name="T15" fmla="*/ 44 h 44"/>
              <a:gd name="T16" fmla="*/ 22 w 28"/>
              <a:gd name="T17" fmla="*/ 42 h 44"/>
              <a:gd name="T18" fmla="*/ 25 w 28"/>
              <a:gd name="T19" fmla="*/ 36 h 44"/>
              <a:gd name="T20" fmla="*/ 28 w 28"/>
              <a:gd name="T21" fmla="*/ 23 h 44"/>
              <a:gd name="T22" fmla="*/ 25 w 28"/>
              <a:gd name="T23" fmla="*/ 13 h 44"/>
              <a:gd name="T24" fmla="*/ 15 w 28"/>
              <a:gd name="T25" fmla="*/ 0 h 44"/>
              <a:gd name="T26" fmla="*/ 14 w 28"/>
              <a:gd name="T2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4">
                <a:moveTo>
                  <a:pt x="14" y="0"/>
                </a:moveTo>
                <a:lnTo>
                  <a:pt x="3" y="5"/>
                </a:lnTo>
                <a:lnTo>
                  <a:pt x="0" y="8"/>
                </a:lnTo>
                <a:lnTo>
                  <a:pt x="0" y="28"/>
                </a:lnTo>
                <a:lnTo>
                  <a:pt x="3" y="30"/>
                </a:lnTo>
                <a:lnTo>
                  <a:pt x="14" y="33"/>
                </a:lnTo>
                <a:lnTo>
                  <a:pt x="20" y="41"/>
                </a:lnTo>
                <a:lnTo>
                  <a:pt x="20" y="44"/>
                </a:lnTo>
                <a:lnTo>
                  <a:pt x="22" y="42"/>
                </a:lnTo>
                <a:lnTo>
                  <a:pt x="25" y="36"/>
                </a:lnTo>
                <a:lnTo>
                  <a:pt x="28" y="23"/>
                </a:lnTo>
                <a:lnTo>
                  <a:pt x="25" y="13"/>
                </a:lnTo>
                <a:lnTo>
                  <a:pt x="15" y="0"/>
                </a:lnTo>
                <a:lnTo>
                  <a:pt x="14" y="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22" name="Freeform 22">
            <a:extLst>
              <a:ext uri="{FF2B5EF4-FFF2-40B4-BE49-F238E27FC236}">
                <a16:creationId xmlns:a16="http://schemas.microsoft.com/office/drawing/2014/main" id="{B6C311C4-770E-419D-9C61-005F65668BC1}"/>
              </a:ext>
            </a:extLst>
          </p:cNvPr>
          <p:cNvSpPr>
            <a:spLocks/>
          </p:cNvSpPr>
          <p:nvPr>
            <p:custDataLst>
              <p:tags r:id="rId15"/>
            </p:custDataLst>
          </p:nvPr>
        </p:nvSpPr>
        <p:spPr bwMode="auto">
          <a:xfrm rot="120000">
            <a:off x="7843774" y="4680632"/>
            <a:ext cx="26986" cy="23813"/>
          </a:xfrm>
          <a:custGeom>
            <a:avLst/>
            <a:gdLst>
              <a:gd name="T0" fmla="*/ 15 w 15"/>
              <a:gd name="T1" fmla="*/ 6 h 15"/>
              <a:gd name="T2" fmla="*/ 14 w 15"/>
              <a:gd name="T3" fmla="*/ 4 h 15"/>
              <a:gd name="T4" fmla="*/ 14 w 15"/>
              <a:gd name="T5" fmla="*/ 3 h 15"/>
              <a:gd name="T6" fmla="*/ 14 w 15"/>
              <a:gd name="T7" fmla="*/ 3 h 15"/>
              <a:gd name="T8" fmla="*/ 12 w 15"/>
              <a:gd name="T9" fmla="*/ 2 h 15"/>
              <a:gd name="T10" fmla="*/ 7 w 15"/>
              <a:gd name="T11" fmla="*/ 0 h 15"/>
              <a:gd name="T12" fmla="*/ 6 w 15"/>
              <a:gd name="T13" fmla="*/ 0 h 15"/>
              <a:gd name="T14" fmla="*/ 3 w 15"/>
              <a:gd name="T15" fmla="*/ 1 h 15"/>
              <a:gd name="T16" fmla="*/ 1 w 15"/>
              <a:gd name="T17" fmla="*/ 2 h 15"/>
              <a:gd name="T18" fmla="*/ 4 w 15"/>
              <a:gd name="T19" fmla="*/ 6 h 15"/>
              <a:gd name="T20" fmla="*/ 1 w 15"/>
              <a:gd name="T21" fmla="*/ 3 h 15"/>
              <a:gd name="T22" fmla="*/ 4 w 15"/>
              <a:gd name="T23" fmla="*/ 6 h 15"/>
              <a:gd name="T24" fmla="*/ 0 w 15"/>
              <a:gd name="T25" fmla="*/ 12 h 15"/>
              <a:gd name="T26" fmla="*/ 1 w 15"/>
              <a:gd name="T27" fmla="*/ 13 h 15"/>
              <a:gd name="T28" fmla="*/ 1 w 15"/>
              <a:gd name="T29" fmla="*/ 14 h 15"/>
              <a:gd name="T30" fmla="*/ 3 w 15"/>
              <a:gd name="T31" fmla="*/ 14 h 15"/>
              <a:gd name="T32" fmla="*/ 3 w 15"/>
              <a:gd name="T33" fmla="*/ 15 h 15"/>
              <a:gd name="T34" fmla="*/ 4 w 15"/>
              <a:gd name="T35" fmla="*/ 15 h 15"/>
              <a:gd name="T36" fmla="*/ 5 w 15"/>
              <a:gd name="T37" fmla="*/ 15 h 15"/>
              <a:gd name="T38" fmla="*/ 7 w 15"/>
              <a:gd name="T39" fmla="*/ 12 h 15"/>
              <a:gd name="T40" fmla="*/ 7 w 15"/>
              <a:gd name="T41" fmla="*/ 14 h 15"/>
              <a:gd name="T42" fmla="*/ 7 w 15"/>
              <a:gd name="T43" fmla="*/ 15 h 15"/>
              <a:gd name="T44" fmla="*/ 9 w 15"/>
              <a:gd name="T45" fmla="*/ 14 h 15"/>
              <a:gd name="T46" fmla="*/ 12 w 15"/>
              <a:gd name="T47" fmla="*/ 14 h 15"/>
              <a:gd name="T48" fmla="*/ 14 w 15"/>
              <a:gd name="T49" fmla="*/ 13 h 15"/>
              <a:gd name="T50" fmla="*/ 14 w 15"/>
              <a:gd name="T51" fmla="*/ 12 h 15"/>
              <a:gd name="T52" fmla="*/ 14 w 15"/>
              <a:gd name="T53" fmla="*/ 11 h 15"/>
              <a:gd name="T54" fmla="*/ 15 w 15"/>
              <a:gd name="T55" fmla="*/ 11 h 15"/>
              <a:gd name="T56" fmla="*/ 15 w 15"/>
              <a:gd name="T57" fmla="*/ 10 h 15"/>
              <a:gd name="T58" fmla="*/ 15 w 15"/>
              <a:gd name="T59" fmla="*/ 6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 h="15">
                <a:moveTo>
                  <a:pt x="15" y="6"/>
                </a:moveTo>
                <a:lnTo>
                  <a:pt x="14" y="4"/>
                </a:lnTo>
                <a:lnTo>
                  <a:pt x="14" y="3"/>
                </a:lnTo>
                <a:lnTo>
                  <a:pt x="14" y="3"/>
                </a:lnTo>
                <a:lnTo>
                  <a:pt x="12" y="2"/>
                </a:lnTo>
                <a:lnTo>
                  <a:pt x="7" y="0"/>
                </a:lnTo>
                <a:lnTo>
                  <a:pt x="6" y="0"/>
                </a:lnTo>
                <a:lnTo>
                  <a:pt x="3" y="1"/>
                </a:lnTo>
                <a:lnTo>
                  <a:pt x="1" y="2"/>
                </a:lnTo>
                <a:lnTo>
                  <a:pt x="4" y="6"/>
                </a:lnTo>
                <a:lnTo>
                  <a:pt x="1" y="3"/>
                </a:lnTo>
                <a:lnTo>
                  <a:pt x="4" y="6"/>
                </a:lnTo>
                <a:lnTo>
                  <a:pt x="0" y="12"/>
                </a:lnTo>
                <a:lnTo>
                  <a:pt x="1" y="13"/>
                </a:lnTo>
                <a:lnTo>
                  <a:pt x="1" y="14"/>
                </a:lnTo>
                <a:lnTo>
                  <a:pt x="3" y="14"/>
                </a:lnTo>
                <a:lnTo>
                  <a:pt x="3" y="15"/>
                </a:lnTo>
                <a:lnTo>
                  <a:pt x="4" y="15"/>
                </a:lnTo>
                <a:lnTo>
                  <a:pt x="5" y="15"/>
                </a:lnTo>
                <a:lnTo>
                  <a:pt x="7" y="12"/>
                </a:lnTo>
                <a:lnTo>
                  <a:pt x="7" y="14"/>
                </a:lnTo>
                <a:lnTo>
                  <a:pt x="7" y="15"/>
                </a:lnTo>
                <a:lnTo>
                  <a:pt x="9" y="14"/>
                </a:lnTo>
                <a:lnTo>
                  <a:pt x="12" y="14"/>
                </a:lnTo>
                <a:lnTo>
                  <a:pt x="14" y="13"/>
                </a:lnTo>
                <a:lnTo>
                  <a:pt x="14" y="12"/>
                </a:lnTo>
                <a:lnTo>
                  <a:pt x="14" y="11"/>
                </a:lnTo>
                <a:lnTo>
                  <a:pt x="15" y="11"/>
                </a:lnTo>
                <a:lnTo>
                  <a:pt x="15" y="10"/>
                </a:lnTo>
                <a:lnTo>
                  <a:pt x="15" y="6"/>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23" name="Freeform 23">
            <a:extLst>
              <a:ext uri="{FF2B5EF4-FFF2-40B4-BE49-F238E27FC236}">
                <a16:creationId xmlns:a16="http://schemas.microsoft.com/office/drawing/2014/main" id="{B511FE28-890A-4FD0-B40D-9CF43563006D}"/>
              </a:ext>
            </a:extLst>
          </p:cNvPr>
          <p:cNvSpPr>
            <a:spLocks/>
          </p:cNvSpPr>
          <p:nvPr>
            <p:custDataLst>
              <p:tags r:id="rId16"/>
            </p:custDataLst>
          </p:nvPr>
        </p:nvSpPr>
        <p:spPr bwMode="auto">
          <a:xfrm rot="120000">
            <a:off x="8207299" y="3621801"/>
            <a:ext cx="774677" cy="1265201"/>
          </a:xfrm>
          <a:custGeom>
            <a:avLst/>
            <a:gdLst>
              <a:gd name="T0" fmla="*/ 118 w 476"/>
              <a:gd name="T1" fmla="*/ 512 h 778"/>
              <a:gd name="T2" fmla="*/ 126 w 476"/>
              <a:gd name="T3" fmla="*/ 456 h 778"/>
              <a:gd name="T4" fmla="*/ 113 w 476"/>
              <a:gd name="T5" fmla="*/ 398 h 778"/>
              <a:gd name="T6" fmla="*/ 91 w 476"/>
              <a:gd name="T7" fmla="*/ 345 h 778"/>
              <a:gd name="T8" fmla="*/ 67 w 476"/>
              <a:gd name="T9" fmla="*/ 318 h 778"/>
              <a:gd name="T10" fmla="*/ 70 w 476"/>
              <a:gd name="T11" fmla="*/ 276 h 778"/>
              <a:gd name="T12" fmla="*/ 87 w 476"/>
              <a:gd name="T13" fmla="*/ 234 h 778"/>
              <a:gd name="T14" fmla="*/ 41 w 476"/>
              <a:gd name="T15" fmla="*/ 178 h 778"/>
              <a:gd name="T16" fmla="*/ 5 w 476"/>
              <a:gd name="T17" fmla="*/ 136 h 778"/>
              <a:gd name="T18" fmla="*/ 6 w 476"/>
              <a:gd name="T19" fmla="*/ 81 h 778"/>
              <a:gd name="T20" fmla="*/ 41 w 476"/>
              <a:gd name="T21" fmla="*/ 43 h 778"/>
              <a:gd name="T22" fmla="*/ 89 w 476"/>
              <a:gd name="T23" fmla="*/ 31 h 778"/>
              <a:gd name="T24" fmla="*/ 113 w 476"/>
              <a:gd name="T25" fmla="*/ 10 h 778"/>
              <a:gd name="T26" fmla="*/ 166 w 476"/>
              <a:gd name="T27" fmla="*/ 13 h 778"/>
              <a:gd name="T28" fmla="*/ 172 w 476"/>
              <a:gd name="T29" fmla="*/ 51 h 778"/>
              <a:gd name="T30" fmla="*/ 208 w 476"/>
              <a:gd name="T31" fmla="*/ 53 h 778"/>
              <a:gd name="T32" fmla="*/ 215 w 476"/>
              <a:gd name="T33" fmla="*/ 110 h 778"/>
              <a:gd name="T34" fmla="*/ 242 w 476"/>
              <a:gd name="T35" fmla="*/ 139 h 778"/>
              <a:gd name="T36" fmla="*/ 281 w 476"/>
              <a:gd name="T37" fmla="*/ 131 h 778"/>
              <a:gd name="T38" fmla="*/ 305 w 476"/>
              <a:gd name="T39" fmla="*/ 133 h 778"/>
              <a:gd name="T40" fmla="*/ 311 w 476"/>
              <a:gd name="T41" fmla="*/ 117 h 778"/>
              <a:gd name="T42" fmla="*/ 343 w 476"/>
              <a:gd name="T43" fmla="*/ 94 h 778"/>
              <a:gd name="T44" fmla="*/ 374 w 476"/>
              <a:gd name="T45" fmla="*/ 120 h 778"/>
              <a:gd name="T46" fmla="*/ 398 w 476"/>
              <a:gd name="T47" fmla="*/ 141 h 778"/>
              <a:gd name="T48" fmla="*/ 424 w 476"/>
              <a:gd name="T49" fmla="*/ 178 h 778"/>
              <a:gd name="T50" fmla="*/ 463 w 476"/>
              <a:gd name="T51" fmla="*/ 221 h 778"/>
              <a:gd name="T52" fmla="*/ 476 w 476"/>
              <a:gd name="T53" fmla="*/ 262 h 778"/>
              <a:gd name="T54" fmla="*/ 464 w 476"/>
              <a:gd name="T55" fmla="*/ 303 h 778"/>
              <a:gd name="T56" fmla="*/ 411 w 476"/>
              <a:gd name="T57" fmla="*/ 328 h 778"/>
              <a:gd name="T58" fmla="*/ 353 w 476"/>
              <a:gd name="T59" fmla="*/ 332 h 778"/>
              <a:gd name="T60" fmla="*/ 325 w 476"/>
              <a:gd name="T61" fmla="*/ 372 h 778"/>
              <a:gd name="T62" fmla="*/ 338 w 476"/>
              <a:gd name="T63" fmla="*/ 428 h 778"/>
              <a:gd name="T64" fmla="*/ 357 w 476"/>
              <a:gd name="T65" fmla="*/ 456 h 778"/>
              <a:gd name="T66" fmla="*/ 352 w 476"/>
              <a:gd name="T67" fmla="*/ 496 h 778"/>
              <a:gd name="T68" fmla="*/ 330 w 476"/>
              <a:gd name="T69" fmla="*/ 459 h 778"/>
              <a:gd name="T70" fmla="*/ 304 w 476"/>
              <a:gd name="T71" fmla="*/ 451 h 778"/>
              <a:gd name="T72" fmla="*/ 290 w 476"/>
              <a:gd name="T73" fmla="*/ 433 h 778"/>
              <a:gd name="T74" fmla="*/ 245 w 476"/>
              <a:gd name="T75" fmla="*/ 428 h 778"/>
              <a:gd name="T76" fmla="*/ 207 w 476"/>
              <a:gd name="T77" fmla="*/ 402 h 778"/>
              <a:gd name="T78" fmla="*/ 173 w 476"/>
              <a:gd name="T79" fmla="*/ 389 h 778"/>
              <a:gd name="T80" fmla="*/ 173 w 476"/>
              <a:gd name="T81" fmla="*/ 418 h 778"/>
              <a:gd name="T82" fmla="*/ 150 w 476"/>
              <a:gd name="T83" fmla="*/ 477 h 778"/>
              <a:gd name="T84" fmla="*/ 142 w 476"/>
              <a:gd name="T85" fmla="*/ 514 h 778"/>
              <a:gd name="T86" fmla="*/ 125 w 476"/>
              <a:gd name="T87" fmla="*/ 553 h 778"/>
              <a:gd name="T88" fmla="*/ 163 w 476"/>
              <a:gd name="T89" fmla="*/ 614 h 778"/>
              <a:gd name="T90" fmla="*/ 173 w 476"/>
              <a:gd name="T91" fmla="*/ 641 h 778"/>
              <a:gd name="T92" fmla="*/ 191 w 476"/>
              <a:gd name="T93" fmla="*/ 668 h 778"/>
              <a:gd name="T94" fmla="*/ 209 w 476"/>
              <a:gd name="T95" fmla="*/ 691 h 778"/>
              <a:gd name="T96" fmla="*/ 236 w 476"/>
              <a:gd name="T97" fmla="*/ 738 h 778"/>
              <a:gd name="T98" fmla="*/ 263 w 476"/>
              <a:gd name="T99" fmla="*/ 732 h 778"/>
              <a:gd name="T100" fmla="*/ 282 w 476"/>
              <a:gd name="T101" fmla="*/ 753 h 778"/>
              <a:gd name="T102" fmla="*/ 270 w 476"/>
              <a:gd name="T103" fmla="*/ 774 h 778"/>
              <a:gd name="T104" fmla="*/ 223 w 476"/>
              <a:gd name="T105" fmla="*/ 772 h 778"/>
              <a:gd name="T106" fmla="*/ 176 w 476"/>
              <a:gd name="T107" fmla="*/ 772 h 778"/>
              <a:gd name="T108" fmla="*/ 155 w 476"/>
              <a:gd name="T109" fmla="*/ 746 h 778"/>
              <a:gd name="T110" fmla="*/ 128 w 476"/>
              <a:gd name="T111" fmla="*/ 701 h 778"/>
              <a:gd name="T112" fmla="*/ 109 w 476"/>
              <a:gd name="T113" fmla="*/ 678 h 778"/>
              <a:gd name="T114" fmla="*/ 74 w 476"/>
              <a:gd name="T115" fmla="*/ 703 h 778"/>
              <a:gd name="T116" fmla="*/ 65 w 476"/>
              <a:gd name="T117" fmla="*/ 662 h 778"/>
              <a:gd name="T118" fmla="*/ 82 w 476"/>
              <a:gd name="T119" fmla="*/ 571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76" h="778">
                <a:moveTo>
                  <a:pt x="84" y="557"/>
                </a:moveTo>
                <a:lnTo>
                  <a:pt x="112" y="526"/>
                </a:lnTo>
                <a:lnTo>
                  <a:pt x="118" y="512"/>
                </a:lnTo>
                <a:lnTo>
                  <a:pt x="126" y="484"/>
                </a:lnTo>
                <a:lnTo>
                  <a:pt x="128" y="470"/>
                </a:lnTo>
                <a:lnTo>
                  <a:pt x="126" y="456"/>
                </a:lnTo>
                <a:lnTo>
                  <a:pt x="124" y="442"/>
                </a:lnTo>
                <a:lnTo>
                  <a:pt x="118" y="414"/>
                </a:lnTo>
                <a:lnTo>
                  <a:pt x="113" y="398"/>
                </a:lnTo>
                <a:lnTo>
                  <a:pt x="105" y="372"/>
                </a:lnTo>
                <a:lnTo>
                  <a:pt x="98" y="358"/>
                </a:lnTo>
                <a:lnTo>
                  <a:pt x="91" y="345"/>
                </a:lnTo>
                <a:lnTo>
                  <a:pt x="81" y="332"/>
                </a:lnTo>
                <a:lnTo>
                  <a:pt x="73" y="328"/>
                </a:lnTo>
                <a:lnTo>
                  <a:pt x="67" y="318"/>
                </a:lnTo>
                <a:lnTo>
                  <a:pt x="67" y="304"/>
                </a:lnTo>
                <a:lnTo>
                  <a:pt x="67" y="290"/>
                </a:lnTo>
                <a:lnTo>
                  <a:pt x="70" y="276"/>
                </a:lnTo>
                <a:lnTo>
                  <a:pt x="74" y="262"/>
                </a:lnTo>
                <a:lnTo>
                  <a:pt x="83" y="248"/>
                </a:lnTo>
                <a:lnTo>
                  <a:pt x="87" y="234"/>
                </a:lnTo>
                <a:lnTo>
                  <a:pt x="83" y="216"/>
                </a:lnTo>
                <a:lnTo>
                  <a:pt x="69" y="196"/>
                </a:lnTo>
                <a:lnTo>
                  <a:pt x="41" y="178"/>
                </a:lnTo>
                <a:lnTo>
                  <a:pt x="26" y="167"/>
                </a:lnTo>
                <a:lnTo>
                  <a:pt x="14" y="152"/>
                </a:lnTo>
                <a:lnTo>
                  <a:pt x="5" y="136"/>
                </a:lnTo>
                <a:lnTo>
                  <a:pt x="0" y="123"/>
                </a:lnTo>
                <a:lnTo>
                  <a:pt x="0" y="110"/>
                </a:lnTo>
                <a:lnTo>
                  <a:pt x="6" y="81"/>
                </a:lnTo>
                <a:lnTo>
                  <a:pt x="17" y="58"/>
                </a:lnTo>
                <a:lnTo>
                  <a:pt x="26" y="50"/>
                </a:lnTo>
                <a:lnTo>
                  <a:pt x="41" y="43"/>
                </a:lnTo>
                <a:lnTo>
                  <a:pt x="69" y="40"/>
                </a:lnTo>
                <a:lnTo>
                  <a:pt x="79" y="35"/>
                </a:lnTo>
                <a:lnTo>
                  <a:pt x="89" y="31"/>
                </a:lnTo>
                <a:lnTo>
                  <a:pt x="97" y="24"/>
                </a:lnTo>
                <a:lnTo>
                  <a:pt x="102" y="16"/>
                </a:lnTo>
                <a:lnTo>
                  <a:pt x="113" y="10"/>
                </a:lnTo>
                <a:lnTo>
                  <a:pt x="141" y="0"/>
                </a:lnTo>
                <a:lnTo>
                  <a:pt x="156" y="3"/>
                </a:lnTo>
                <a:lnTo>
                  <a:pt x="166" y="13"/>
                </a:lnTo>
                <a:lnTo>
                  <a:pt x="169" y="27"/>
                </a:lnTo>
                <a:lnTo>
                  <a:pt x="171" y="40"/>
                </a:lnTo>
                <a:lnTo>
                  <a:pt x="172" y="51"/>
                </a:lnTo>
                <a:lnTo>
                  <a:pt x="183" y="53"/>
                </a:lnTo>
                <a:lnTo>
                  <a:pt x="199" y="43"/>
                </a:lnTo>
                <a:lnTo>
                  <a:pt x="208" y="53"/>
                </a:lnTo>
                <a:lnTo>
                  <a:pt x="215" y="69"/>
                </a:lnTo>
                <a:lnTo>
                  <a:pt x="217" y="81"/>
                </a:lnTo>
                <a:lnTo>
                  <a:pt x="215" y="110"/>
                </a:lnTo>
                <a:lnTo>
                  <a:pt x="214" y="138"/>
                </a:lnTo>
                <a:lnTo>
                  <a:pt x="227" y="139"/>
                </a:lnTo>
                <a:lnTo>
                  <a:pt x="242" y="139"/>
                </a:lnTo>
                <a:lnTo>
                  <a:pt x="260" y="131"/>
                </a:lnTo>
                <a:lnTo>
                  <a:pt x="275" y="128"/>
                </a:lnTo>
                <a:lnTo>
                  <a:pt x="281" y="131"/>
                </a:lnTo>
                <a:lnTo>
                  <a:pt x="289" y="134"/>
                </a:lnTo>
                <a:lnTo>
                  <a:pt x="296" y="135"/>
                </a:lnTo>
                <a:lnTo>
                  <a:pt x="305" y="133"/>
                </a:lnTo>
                <a:lnTo>
                  <a:pt x="307" y="131"/>
                </a:lnTo>
                <a:lnTo>
                  <a:pt x="307" y="123"/>
                </a:lnTo>
                <a:lnTo>
                  <a:pt x="311" y="117"/>
                </a:lnTo>
                <a:lnTo>
                  <a:pt x="322" y="110"/>
                </a:lnTo>
                <a:lnTo>
                  <a:pt x="331" y="98"/>
                </a:lnTo>
                <a:lnTo>
                  <a:pt x="343" y="94"/>
                </a:lnTo>
                <a:lnTo>
                  <a:pt x="355" y="98"/>
                </a:lnTo>
                <a:lnTo>
                  <a:pt x="361" y="110"/>
                </a:lnTo>
                <a:lnTo>
                  <a:pt x="374" y="120"/>
                </a:lnTo>
                <a:lnTo>
                  <a:pt x="381" y="128"/>
                </a:lnTo>
                <a:lnTo>
                  <a:pt x="389" y="134"/>
                </a:lnTo>
                <a:lnTo>
                  <a:pt x="398" y="141"/>
                </a:lnTo>
                <a:lnTo>
                  <a:pt x="406" y="151"/>
                </a:lnTo>
                <a:lnTo>
                  <a:pt x="416" y="166"/>
                </a:lnTo>
                <a:lnTo>
                  <a:pt x="424" y="178"/>
                </a:lnTo>
                <a:lnTo>
                  <a:pt x="432" y="193"/>
                </a:lnTo>
                <a:lnTo>
                  <a:pt x="444" y="207"/>
                </a:lnTo>
                <a:lnTo>
                  <a:pt x="463" y="221"/>
                </a:lnTo>
                <a:lnTo>
                  <a:pt x="471" y="233"/>
                </a:lnTo>
                <a:lnTo>
                  <a:pt x="474" y="248"/>
                </a:lnTo>
                <a:lnTo>
                  <a:pt x="476" y="262"/>
                </a:lnTo>
                <a:lnTo>
                  <a:pt x="474" y="276"/>
                </a:lnTo>
                <a:lnTo>
                  <a:pt x="471" y="287"/>
                </a:lnTo>
                <a:lnTo>
                  <a:pt x="464" y="303"/>
                </a:lnTo>
                <a:lnTo>
                  <a:pt x="442" y="318"/>
                </a:lnTo>
                <a:lnTo>
                  <a:pt x="429" y="321"/>
                </a:lnTo>
                <a:lnTo>
                  <a:pt x="411" y="328"/>
                </a:lnTo>
                <a:lnTo>
                  <a:pt x="401" y="329"/>
                </a:lnTo>
                <a:lnTo>
                  <a:pt x="385" y="326"/>
                </a:lnTo>
                <a:lnTo>
                  <a:pt x="353" y="332"/>
                </a:lnTo>
                <a:lnTo>
                  <a:pt x="335" y="345"/>
                </a:lnTo>
                <a:lnTo>
                  <a:pt x="327" y="360"/>
                </a:lnTo>
                <a:lnTo>
                  <a:pt x="325" y="372"/>
                </a:lnTo>
                <a:lnTo>
                  <a:pt x="327" y="386"/>
                </a:lnTo>
                <a:lnTo>
                  <a:pt x="332" y="411"/>
                </a:lnTo>
                <a:lnTo>
                  <a:pt x="338" y="428"/>
                </a:lnTo>
                <a:lnTo>
                  <a:pt x="345" y="439"/>
                </a:lnTo>
                <a:lnTo>
                  <a:pt x="352" y="446"/>
                </a:lnTo>
                <a:lnTo>
                  <a:pt x="357" y="456"/>
                </a:lnTo>
                <a:lnTo>
                  <a:pt x="358" y="470"/>
                </a:lnTo>
                <a:lnTo>
                  <a:pt x="353" y="496"/>
                </a:lnTo>
                <a:lnTo>
                  <a:pt x="352" y="496"/>
                </a:lnTo>
                <a:lnTo>
                  <a:pt x="344" y="491"/>
                </a:lnTo>
                <a:lnTo>
                  <a:pt x="336" y="480"/>
                </a:lnTo>
                <a:lnTo>
                  <a:pt x="330" y="459"/>
                </a:lnTo>
                <a:lnTo>
                  <a:pt x="320" y="450"/>
                </a:lnTo>
                <a:lnTo>
                  <a:pt x="309" y="451"/>
                </a:lnTo>
                <a:lnTo>
                  <a:pt x="304" y="451"/>
                </a:lnTo>
                <a:lnTo>
                  <a:pt x="301" y="450"/>
                </a:lnTo>
                <a:lnTo>
                  <a:pt x="296" y="439"/>
                </a:lnTo>
                <a:lnTo>
                  <a:pt x="290" y="433"/>
                </a:lnTo>
                <a:lnTo>
                  <a:pt x="279" y="431"/>
                </a:lnTo>
                <a:lnTo>
                  <a:pt x="269" y="426"/>
                </a:lnTo>
                <a:lnTo>
                  <a:pt x="245" y="428"/>
                </a:lnTo>
                <a:lnTo>
                  <a:pt x="236" y="428"/>
                </a:lnTo>
                <a:lnTo>
                  <a:pt x="225" y="426"/>
                </a:lnTo>
                <a:lnTo>
                  <a:pt x="207" y="402"/>
                </a:lnTo>
                <a:lnTo>
                  <a:pt x="199" y="397"/>
                </a:lnTo>
                <a:lnTo>
                  <a:pt x="179" y="392"/>
                </a:lnTo>
                <a:lnTo>
                  <a:pt x="173" y="389"/>
                </a:lnTo>
                <a:lnTo>
                  <a:pt x="166" y="397"/>
                </a:lnTo>
                <a:lnTo>
                  <a:pt x="171" y="408"/>
                </a:lnTo>
                <a:lnTo>
                  <a:pt x="173" y="418"/>
                </a:lnTo>
                <a:lnTo>
                  <a:pt x="171" y="428"/>
                </a:lnTo>
                <a:lnTo>
                  <a:pt x="153" y="465"/>
                </a:lnTo>
                <a:lnTo>
                  <a:pt x="150" y="477"/>
                </a:lnTo>
                <a:lnTo>
                  <a:pt x="144" y="488"/>
                </a:lnTo>
                <a:lnTo>
                  <a:pt x="144" y="504"/>
                </a:lnTo>
                <a:lnTo>
                  <a:pt x="142" y="514"/>
                </a:lnTo>
                <a:lnTo>
                  <a:pt x="137" y="532"/>
                </a:lnTo>
                <a:lnTo>
                  <a:pt x="133" y="542"/>
                </a:lnTo>
                <a:lnTo>
                  <a:pt x="125" y="553"/>
                </a:lnTo>
                <a:lnTo>
                  <a:pt x="125" y="600"/>
                </a:lnTo>
                <a:lnTo>
                  <a:pt x="137" y="608"/>
                </a:lnTo>
                <a:lnTo>
                  <a:pt x="163" y="614"/>
                </a:lnTo>
                <a:lnTo>
                  <a:pt x="169" y="619"/>
                </a:lnTo>
                <a:lnTo>
                  <a:pt x="171" y="639"/>
                </a:lnTo>
                <a:lnTo>
                  <a:pt x="173" y="641"/>
                </a:lnTo>
                <a:lnTo>
                  <a:pt x="185" y="644"/>
                </a:lnTo>
                <a:lnTo>
                  <a:pt x="187" y="647"/>
                </a:lnTo>
                <a:lnTo>
                  <a:pt x="191" y="668"/>
                </a:lnTo>
                <a:lnTo>
                  <a:pt x="204" y="678"/>
                </a:lnTo>
                <a:lnTo>
                  <a:pt x="207" y="681"/>
                </a:lnTo>
                <a:lnTo>
                  <a:pt x="209" y="691"/>
                </a:lnTo>
                <a:lnTo>
                  <a:pt x="209" y="718"/>
                </a:lnTo>
                <a:lnTo>
                  <a:pt x="225" y="730"/>
                </a:lnTo>
                <a:lnTo>
                  <a:pt x="236" y="738"/>
                </a:lnTo>
                <a:lnTo>
                  <a:pt x="250" y="732"/>
                </a:lnTo>
                <a:lnTo>
                  <a:pt x="252" y="730"/>
                </a:lnTo>
                <a:lnTo>
                  <a:pt x="263" y="732"/>
                </a:lnTo>
                <a:lnTo>
                  <a:pt x="272" y="740"/>
                </a:lnTo>
                <a:lnTo>
                  <a:pt x="279" y="751"/>
                </a:lnTo>
                <a:lnTo>
                  <a:pt x="282" y="753"/>
                </a:lnTo>
                <a:lnTo>
                  <a:pt x="283" y="763"/>
                </a:lnTo>
                <a:lnTo>
                  <a:pt x="280" y="770"/>
                </a:lnTo>
                <a:lnTo>
                  <a:pt x="270" y="774"/>
                </a:lnTo>
                <a:lnTo>
                  <a:pt x="257" y="777"/>
                </a:lnTo>
                <a:lnTo>
                  <a:pt x="234" y="778"/>
                </a:lnTo>
                <a:lnTo>
                  <a:pt x="223" y="772"/>
                </a:lnTo>
                <a:lnTo>
                  <a:pt x="201" y="771"/>
                </a:lnTo>
                <a:lnTo>
                  <a:pt x="199" y="772"/>
                </a:lnTo>
                <a:lnTo>
                  <a:pt x="176" y="772"/>
                </a:lnTo>
                <a:lnTo>
                  <a:pt x="161" y="762"/>
                </a:lnTo>
                <a:lnTo>
                  <a:pt x="155" y="756"/>
                </a:lnTo>
                <a:lnTo>
                  <a:pt x="155" y="746"/>
                </a:lnTo>
                <a:lnTo>
                  <a:pt x="153" y="735"/>
                </a:lnTo>
                <a:lnTo>
                  <a:pt x="144" y="722"/>
                </a:lnTo>
                <a:lnTo>
                  <a:pt x="128" y="701"/>
                </a:lnTo>
                <a:lnTo>
                  <a:pt x="118" y="681"/>
                </a:lnTo>
                <a:lnTo>
                  <a:pt x="115" y="678"/>
                </a:lnTo>
                <a:lnTo>
                  <a:pt x="109" y="678"/>
                </a:lnTo>
                <a:lnTo>
                  <a:pt x="104" y="688"/>
                </a:lnTo>
                <a:lnTo>
                  <a:pt x="88" y="703"/>
                </a:lnTo>
                <a:lnTo>
                  <a:pt x="74" y="703"/>
                </a:lnTo>
                <a:lnTo>
                  <a:pt x="65" y="696"/>
                </a:lnTo>
                <a:lnTo>
                  <a:pt x="63" y="678"/>
                </a:lnTo>
                <a:lnTo>
                  <a:pt x="65" y="662"/>
                </a:lnTo>
                <a:lnTo>
                  <a:pt x="65" y="614"/>
                </a:lnTo>
                <a:lnTo>
                  <a:pt x="77" y="592"/>
                </a:lnTo>
                <a:lnTo>
                  <a:pt x="82" y="571"/>
                </a:lnTo>
                <a:lnTo>
                  <a:pt x="84" y="557"/>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24" name="Freeform 24">
            <a:extLst>
              <a:ext uri="{FF2B5EF4-FFF2-40B4-BE49-F238E27FC236}">
                <a16:creationId xmlns:a16="http://schemas.microsoft.com/office/drawing/2014/main" id="{7A3BE77C-230E-4330-B7AE-06415605AED2}"/>
              </a:ext>
            </a:extLst>
          </p:cNvPr>
          <p:cNvSpPr>
            <a:spLocks/>
          </p:cNvSpPr>
          <p:nvPr>
            <p:custDataLst>
              <p:tags r:id="rId17"/>
            </p:custDataLst>
          </p:nvPr>
        </p:nvSpPr>
        <p:spPr bwMode="auto">
          <a:xfrm rot="120000">
            <a:off x="8739098" y="4109149"/>
            <a:ext cx="439724" cy="393688"/>
          </a:xfrm>
          <a:custGeom>
            <a:avLst/>
            <a:gdLst>
              <a:gd name="T0" fmla="*/ 252 w 271"/>
              <a:gd name="T1" fmla="*/ 14 h 241"/>
              <a:gd name="T2" fmla="*/ 241 w 271"/>
              <a:gd name="T3" fmla="*/ 20 h 241"/>
              <a:gd name="T4" fmla="*/ 230 w 271"/>
              <a:gd name="T5" fmla="*/ 26 h 241"/>
              <a:gd name="T6" fmla="*/ 221 w 271"/>
              <a:gd name="T7" fmla="*/ 31 h 241"/>
              <a:gd name="T8" fmla="*/ 216 w 271"/>
              <a:gd name="T9" fmla="*/ 29 h 241"/>
              <a:gd name="T10" fmla="*/ 209 w 271"/>
              <a:gd name="T11" fmla="*/ 25 h 241"/>
              <a:gd name="T12" fmla="*/ 205 w 271"/>
              <a:gd name="T13" fmla="*/ 15 h 241"/>
              <a:gd name="T14" fmla="*/ 201 w 271"/>
              <a:gd name="T15" fmla="*/ 6 h 241"/>
              <a:gd name="T16" fmla="*/ 193 w 271"/>
              <a:gd name="T17" fmla="*/ 0 h 241"/>
              <a:gd name="T18" fmla="*/ 187 w 271"/>
              <a:gd name="T19" fmla="*/ 4 h 241"/>
              <a:gd name="T20" fmla="*/ 184 w 271"/>
              <a:gd name="T21" fmla="*/ 14 h 241"/>
              <a:gd name="T22" fmla="*/ 181 w 271"/>
              <a:gd name="T23" fmla="*/ 27 h 241"/>
              <a:gd name="T24" fmla="*/ 180 w 271"/>
              <a:gd name="T25" fmla="*/ 39 h 241"/>
              <a:gd name="T26" fmla="*/ 176 w 271"/>
              <a:gd name="T27" fmla="*/ 45 h 241"/>
              <a:gd name="T28" fmla="*/ 169 w 271"/>
              <a:gd name="T29" fmla="*/ 45 h 241"/>
              <a:gd name="T30" fmla="*/ 163 w 271"/>
              <a:gd name="T31" fmla="*/ 40 h 241"/>
              <a:gd name="T32" fmla="*/ 156 w 271"/>
              <a:gd name="T33" fmla="*/ 26 h 241"/>
              <a:gd name="T34" fmla="*/ 139 w 271"/>
              <a:gd name="T35" fmla="*/ 12 h 241"/>
              <a:gd name="T36" fmla="*/ 104 w 271"/>
              <a:gd name="T37" fmla="*/ 29 h 241"/>
              <a:gd name="T38" fmla="*/ 75 w 271"/>
              <a:gd name="T39" fmla="*/ 37 h 241"/>
              <a:gd name="T40" fmla="*/ 28 w 271"/>
              <a:gd name="T41" fmla="*/ 40 h 241"/>
              <a:gd name="T42" fmla="*/ 2 w 271"/>
              <a:gd name="T43" fmla="*/ 68 h 241"/>
              <a:gd name="T44" fmla="*/ 2 w 271"/>
              <a:gd name="T45" fmla="*/ 95 h 241"/>
              <a:gd name="T46" fmla="*/ 12 w 271"/>
              <a:gd name="T47" fmla="*/ 136 h 241"/>
              <a:gd name="T48" fmla="*/ 26 w 271"/>
              <a:gd name="T49" fmla="*/ 155 h 241"/>
              <a:gd name="T50" fmla="*/ 33 w 271"/>
              <a:gd name="T51" fmla="*/ 179 h 241"/>
              <a:gd name="T52" fmla="*/ 27 w 271"/>
              <a:gd name="T53" fmla="*/ 205 h 241"/>
              <a:gd name="T54" fmla="*/ 24 w 271"/>
              <a:gd name="T55" fmla="*/ 218 h 241"/>
              <a:gd name="T56" fmla="*/ 59 w 271"/>
              <a:gd name="T57" fmla="*/ 221 h 241"/>
              <a:gd name="T58" fmla="*/ 73 w 271"/>
              <a:gd name="T59" fmla="*/ 236 h 241"/>
              <a:gd name="T60" fmla="*/ 107 w 271"/>
              <a:gd name="T61" fmla="*/ 241 h 241"/>
              <a:gd name="T62" fmla="*/ 119 w 271"/>
              <a:gd name="T63" fmla="*/ 237 h 241"/>
              <a:gd name="T64" fmla="*/ 136 w 271"/>
              <a:gd name="T65" fmla="*/ 196 h 241"/>
              <a:gd name="T66" fmla="*/ 163 w 271"/>
              <a:gd name="T67" fmla="*/ 189 h 241"/>
              <a:gd name="T68" fmla="*/ 187 w 271"/>
              <a:gd name="T69" fmla="*/ 190 h 241"/>
              <a:gd name="T70" fmla="*/ 184 w 271"/>
              <a:gd name="T71" fmla="*/ 170 h 241"/>
              <a:gd name="T72" fmla="*/ 179 w 271"/>
              <a:gd name="T73" fmla="*/ 155 h 241"/>
              <a:gd name="T74" fmla="*/ 201 w 271"/>
              <a:gd name="T75" fmla="*/ 135 h 241"/>
              <a:gd name="T76" fmla="*/ 244 w 271"/>
              <a:gd name="T77" fmla="*/ 121 h 241"/>
              <a:gd name="T78" fmla="*/ 268 w 271"/>
              <a:gd name="T79" fmla="*/ 106 h 241"/>
              <a:gd name="T80" fmla="*/ 268 w 271"/>
              <a:gd name="T81" fmla="*/ 81 h 241"/>
              <a:gd name="T82" fmla="*/ 263 w 271"/>
              <a:gd name="T83" fmla="*/ 40 h 241"/>
              <a:gd name="T84" fmla="*/ 262 w 271"/>
              <a:gd name="T85" fmla="*/ 1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1" h="241">
                <a:moveTo>
                  <a:pt x="262" y="12"/>
                </a:moveTo>
                <a:lnTo>
                  <a:pt x="252" y="14"/>
                </a:lnTo>
                <a:lnTo>
                  <a:pt x="246" y="15"/>
                </a:lnTo>
                <a:lnTo>
                  <a:pt x="241" y="20"/>
                </a:lnTo>
                <a:lnTo>
                  <a:pt x="233" y="25"/>
                </a:lnTo>
                <a:lnTo>
                  <a:pt x="230" y="26"/>
                </a:lnTo>
                <a:lnTo>
                  <a:pt x="225" y="29"/>
                </a:lnTo>
                <a:lnTo>
                  <a:pt x="221" y="31"/>
                </a:lnTo>
                <a:lnTo>
                  <a:pt x="221" y="32"/>
                </a:lnTo>
                <a:lnTo>
                  <a:pt x="216" y="29"/>
                </a:lnTo>
                <a:lnTo>
                  <a:pt x="212" y="29"/>
                </a:lnTo>
                <a:lnTo>
                  <a:pt x="209" y="25"/>
                </a:lnTo>
                <a:lnTo>
                  <a:pt x="206" y="20"/>
                </a:lnTo>
                <a:lnTo>
                  <a:pt x="205" y="15"/>
                </a:lnTo>
                <a:lnTo>
                  <a:pt x="203" y="11"/>
                </a:lnTo>
                <a:lnTo>
                  <a:pt x="201" y="6"/>
                </a:lnTo>
                <a:lnTo>
                  <a:pt x="198" y="3"/>
                </a:lnTo>
                <a:lnTo>
                  <a:pt x="193" y="0"/>
                </a:lnTo>
                <a:lnTo>
                  <a:pt x="190" y="3"/>
                </a:lnTo>
                <a:lnTo>
                  <a:pt x="187" y="4"/>
                </a:lnTo>
                <a:lnTo>
                  <a:pt x="185" y="7"/>
                </a:lnTo>
                <a:lnTo>
                  <a:pt x="184" y="14"/>
                </a:lnTo>
                <a:lnTo>
                  <a:pt x="182" y="21"/>
                </a:lnTo>
                <a:lnTo>
                  <a:pt x="181" y="27"/>
                </a:lnTo>
                <a:lnTo>
                  <a:pt x="181" y="34"/>
                </a:lnTo>
                <a:lnTo>
                  <a:pt x="180" y="39"/>
                </a:lnTo>
                <a:lnTo>
                  <a:pt x="179" y="42"/>
                </a:lnTo>
                <a:lnTo>
                  <a:pt x="176" y="45"/>
                </a:lnTo>
                <a:lnTo>
                  <a:pt x="173" y="47"/>
                </a:lnTo>
                <a:lnTo>
                  <a:pt x="169" y="45"/>
                </a:lnTo>
                <a:lnTo>
                  <a:pt x="166" y="42"/>
                </a:lnTo>
                <a:lnTo>
                  <a:pt x="163" y="40"/>
                </a:lnTo>
                <a:lnTo>
                  <a:pt x="160" y="33"/>
                </a:lnTo>
                <a:lnTo>
                  <a:pt x="156" y="26"/>
                </a:lnTo>
                <a:lnTo>
                  <a:pt x="145" y="17"/>
                </a:lnTo>
                <a:lnTo>
                  <a:pt x="139" y="12"/>
                </a:lnTo>
                <a:lnTo>
                  <a:pt x="116" y="26"/>
                </a:lnTo>
                <a:lnTo>
                  <a:pt x="104" y="29"/>
                </a:lnTo>
                <a:lnTo>
                  <a:pt x="86" y="37"/>
                </a:lnTo>
                <a:lnTo>
                  <a:pt x="75" y="37"/>
                </a:lnTo>
                <a:lnTo>
                  <a:pt x="60" y="34"/>
                </a:lnTo>
                <a:lnTo>
                  <a:pt x="28" y="40"/>
                </a:lnTo>
                <a:lnTo>
                  <a:pt x="9" y="54"/>
                </a:lnTo>
                <a:lnTo>
                  <a:pt x="2" y="68"/>
                </a:lnTo>
                <a:lnTo>
                  <a:pt x="0" y="81"/>
                </a:lnTo>
                <a:lnTo>
                  <a:pt x="2" y="95"/>
                </a:lnTo>
                <a:lnTo>
                  <a:pt x="6" y="120"/>
                </a:lnTo>
                <a:lnTo>
                  <a:pt x="12" y="136"/>
                </a:lnTo>
                <a:lnTo>
                  <a:pt x="20" y="147"/>
                </a:lnTo>
                <a:lnTo>
                  <a:pt x="26" y="155"/>
                </a:lnTo>
                <a:lnTo>
                  <a:pt x="31" y="165"/>
                </a:lnTo>
                <a:lnTo>
                  <a:pt x="33" y="179"/>
                </a:lnTo>
                <a:lnTo>
                  <a:pt x="28" y="205"/>
                </a:lnTo>
                <a:lnTo>
                  <a:pt x="27" y="205"/>
                </a:lnTo>
                <a:lnTo>
                  <a:pt x="21" y="215"/>
                </a:lnTo>
                <a:lnTo>
                  <a:pt x="24" y="218"/>
                </a:lnTo>
                <a:lnTo>
                  <a:pt x="46" y="223"/>
                </a:lnTo>
                <a:lnTo>
                  <a:pt x="59" y="221"/>
                </a:lnTo>
                <a:lnTo>
                  <a:pt x="61" y="223"/>
                </a:lnTo>
                <a:lnTo>
                  <a:pt x="73" y="236"/>
                </a:lnTo>
                <a:lnTo>
                  <a:pt x="94" y="236"/>
                </a:lnTo>
                <a:lnTo>
                  <a:pt x="107" y="241"/>
                </a:lnTo>
                <a:lnTo>
                  <a:pt x="118" y="238"/>
                </a:lnTo>
                <a:lnTo>
                  <a:pt x="119" y="237"/>
                </a:lnTo>
                <a:lnTo>
                  <a:pt x="126" y="215"/>
                </a:lnTo>
                <a:lnTo>
                  <a:pt x="136" y="196"/>
                </a:lnTo>
                <a:lnTo>
                  <a:pt x="147" y="188"/>
                </a:lnTo>
                <a:lnTo>
                  <a:pt x="163" y="189"/>
                </a:lnTo>
                <a:lnTo>
                  <a:pt x="175" y="193"/>
                </a:lnTo>
                <a:lnTo>
                  <a:pt x="187" y="190"/>
                </a:lnTo>
                <a:lnTo>
                  <a:pt x="189" y="179"/>
                </a:lnTo>
                <a:lnTo>
                  <a:pt x="184" y="170"/>
                </a:lnTo>
                <a:lnTo>
                  <a:pt x="178" y="164"/>
                </a:lnTo>
                <a:lnTo>
                  <a:pt x="179" y="155"/>
                </a:lnTo>
                <a:lnTo>
                  <a:pt x="186" y="146"/>
                </a:lnTo>
                <a:lnTo>
                  <a:pt x="201" y="135"/>
                </a:lnTo>
                <a:lnTo>
                  <a:pt x="218" y="126"/>
                </a:lnTo>
                <a:lnTo>
                  <a:pt x="244" y="121"/>
                </a:lnTo>
                <a:lnTo>
                  <a:pt x="265" y="111"/>
                </a:lnTo>
                <a:lnTo>
                  <a:pt x="268" y="106"/>
                </a:lnTo>
                <a:lnTo>
                  <a:pt x="271" y="95"/>
                </a:lnTo>
                <a:lnTo>
                  <a:pt x="268" y="81"/>
                </a:lnTo>
                <a:lnTo>
                  <a:pt x="266" y="67"/>
                </a:lnTo>
                <a:lnTo>
                  <a:pt x="263" y="40"/>
                </a:lnTo>
                <a:lnTo>
                  <a:pt x="261" y="12"/>
                </a:lnTo>
                <a:lnTo>
                  <a:pt x="262" y="12"/>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25" name="Freeform 25">
            <a:extLst>
              <a:ext uri="{FF2B5EF4-FFF2-40B4-BE49-F238E27FC236}">
                <a16:creationId xmlns:a16="http://schemas.microsoft.com/office/drawing/2014/main" id="{289D6DC1-E321-43DB-A492-29FBFE5A21D7}"/>
              </a:ext>
            </a:extLst>
          </p:cNvPr>
          <p:cNvSpPr>
            <a:spLocks/>
          </p:cNvSpPr>
          <p:nvPr>
            <p:custDataLst>
              <p:tags r:id="rId18"/>
            </p:custDataLst>
          </p:nvPr>
        </p:nvSpPr>
        <p:spPr bwMode="auto">
          <a:xfrm rot="120000">
            <a:off x="8612099" y="3317008"/>
            <a:ext cx="723879" cy="1320762"/>
          </a:xfrm>
          <a:custGeom>
            <a:avLst/>
            <a:gdLst>
              <a:gd name="T0" fmla="*/ 6 w 444"/>
              <a:gd name="T1" fmla="*/ 104 h 812"/>
              <a:gd name="T2" fmla="*/ 43 w 444"/>
              <a:gd name="T3" fmla="*/ 141 h 812"/>
              <a:gd name="T4" fmla="*/ 72 w 444"/>
              <a:gd name="T5" fmla="*/ 166 h 812"/>
              <a:gd name="T6" fmla="*/ 115 w 444"/>
              <a:gd name="T7" fmla="*/ 166 h 812"/>
              <a:gd name="T8" fmla="*/ 164 w 444"/>
              <a:gd name="T9" fmla="*/ 180 h 812"/>
              <a:gd name="T10" fmla="*/ 158 w 444"/>
              <a:gd name="T11" fmla="*/ 218 h 812"/>
              <a:gd name="T12" fmla="*/ 131 w 444"/>
              <a:gd name="T13" fmla="*/ 237 h 812"/>
              <a:gd name="T14" fmla="*/ 170 w 444"/>
              <a:gd name="T15" fmla="*/ 257 h 812"/>
              <a:gd name="T16" fmla="*/ 199 w 444"/>
              <a:gd name="T17" fmla="*/ 293 h 812"/>
              <a:gd name="T18" fmla="*/ 213 w 444"/>
              <a:gd name="T19" fmla="*/ 324 h 812"/>
              <a:gd name="T20" fmla="*/ 241 w 444"/>
              <a:gd name="T21" fmla="*/ 336 h 812"/>
              <a:gd name="T22" fmla="*/ 256 w 444"/>
              <a:gd name="T23" fmla="*/ 359 h 812"/>
              <a:gd name="T24" fmla="*/ 286 w 444"/>
              <a:gd name="T25" fmla="*/ 377 h 812"/>
              <a:gd name="T26" fmla="*/ 315 w 444"/>
              <a:gd name="T27" fmla="*/ 403 h 812"/>
              <a:gd name="T28" fmla="*/ 331 w 444"/>
              <a:gd name="T29" fmla="*/ 458 h 812"/>
              <a:gd name="T30" fmla="*/ 345 w 444"/>
              <a:gd name="T31" fmla="*/ 501 h 812"/>
              <a:gd name="T32" fmla="*/ 353 w 444"/>
              <a:gd name="T33" fmla="*/ 569 h 812"/>
              <a:gd name="T34" fmla="*/ 349 w 444"/>
              <a:gd name="T35" fmla="*/ 599 h 812"/>
              <a:gd name="T36" fmla="*/ 285 w 444"/>
              <a:gd name="T37" fmla="*/ 623 h 812"/>
              <a:gd name="T38" fmla="*/ 262 w 444"/>
              <a:gd name="T39" fmla="*/ 652 h 812"/>
              <a:gd name="T40" fmla="*/ 271 w 444"/>
              <a:gd name="T41" fmla="*/ 678 h 812"/>
              <a:gd name="T42" fmla="*/ 231 w 444"/>
              <a:gd name="T43" fmla="*/ 675 h 812"/>
              <a:gd name="T44" fmla="*/ 203 w 444"/>
              <a:gd name="T45" fmla="*/ 725 h 812"/>
              <a:gd name="T46" fmla="*/ 218 w 444"/>
              <a:gd name="T47" fmla="*/ 750 h 812"/>
              <a:gd name="T48" fmla="*/ 218 w 444"/>
              <a:gd name="T49" fmla="*/ 792 h 812"/>
              <a:gd name="T50" fmla="*/ 232 w 444"/>
              <a:gd name="T51" fmla="*/ 807 h 812"/>
              <a:gd name="T52" fmla="*/ 262 w 444"/>
              <a:gd name="T53" fmla="*/ 769 h 812"/>
              <a:gd name="T54" fmla="*/ 280 w 444"/>
              <a:gd name="T55" fmla="*/ 735 h 812"/>
              <a:gd name="T56" fmla="*/ 302 w 444"/>
              <a:gd name="T57" fmla="*/ 750 h 812"/>
              <a:gd name="T58" fmla="*/ 317 w 444"/>
              <a:gd name="T59" fmla="*/ 724 h 812"/>
              <a:gd name="T60" fmla="*/ 346 w 444"/>
              <a:gd name="T61" fmla="*/ 697 h 812"/>
              <a:gd name="T62" fmla="*/ 378 w 444"/>
              <a:gd name="T63" fmla="*/ 680 h 812"/>
              <a:gd name="T64" fmla="*/ 435 w 444"/>
              <a:gd name="T65" fmla="*/ 630 h 812"/>
              <a:gd name="T66" fmla="*/ 440 w 444"/>
              <a:gd name="T67" fmla="*/ 576 h 812"/>
              <a:gd name="T68" fmla="*/ 444 w 444"/>
              <a:gd name="T69" fmla="*/ 529 h 812"/>
              <a:gd name="T70" fmla="*/ 432 w 444"/>
              <a:gd name="T71" fmla="*/ 477 h 812"/>
              <a:gd name="T72" fmla="*/ 406 w 444"/>
              <a:gd name="T73" fmla="*/ 429 h 812"/>
              <a:gd name="T74" fmla="*/ 365 w 444"/>
              <a:gd name="T75" fmla="*/ 388 h 812"/>
              <a:gd name="T76" fmla="*/ 314 w 444"/>
              <a:gd name="T77" fmla="*/ 354 h 812"/>
              <a:gd name="T78" fmla="*/ 279 w 444"/>
              <a:gd name="T79" fmla="*/ 310 h 812"/>
              <a:gd name="T80" fmla="*/ 232 w 444"/>
              <a:gd name="T81" fmla="*/ 275 h 812"/>
              <a:gd name="T82" fmla="*/ 205 w 444"/>
              <a:gd name="T83" fmla="*/ 238 h 812"/>
              <a:gd name="T84" fmla="*/ 221 w 444"/>
              <a:gd name="T85" fmla="*/ 191 h 812"/>
              <a:gd name="T86" fmla="*/ 248 w 444"/>
              <a:gd name="T87" fmla="*/ 141 h 812"/>
              <a:gd name="T88" fmla="*/ 297 w 444"/>
              <a:gd name="T89" fmla="*/ 96 h 812"/>
              <a:gd name="T90" fmla="*/ 274 w 444"/>
              <a:gd name="T91" fmla="*/ 83 h 812"/>
              <a:gd name="T92" fmla="*/ 223 w 444"/>
              <a:gd name="T93" fmla="*/ 65 h 812"/>
              <a:gd name="T94" fmla="*/ 234 w 444"/>
              <a:gd name="T95" fmla="*/ 36 h 812"/>
              <a:gd name="T96" fmla="*/ 226 w 444"/>
              <a:gd name="T97" fmla="*/ 25 h 812"/>
              <a:gd name="T98" fmla="*/ 188 w 444"/>
              <a:gd name="T99" fmla="*/ 16 h 812"/>
              <a:gd name="T100" fmla="*/ 158 w 444"/>
              <a:gd name="T101" fmla="*/ 5 h 812"/>
              <a:gd name="T102" fmla="*/ 140 w 444"/>
              <a:gd name="T103" fmla="*/ 43 h 812"/>
              <a:gd name="T104" fmla="*/ 116 w 444"/>
              <a:gd name="T105" fmla="*/ 59 h 812"/>
              <a:gd name="T106" fmla="*/ 78 w 444"/>
              <a:gd name="T107" fmla="*/ 65 h 812"/>
              <a:gd name="T108" fmla="*/ 43 w 444"/>
              <a:gd name="T109" fmla="*/ 79 h 812"/>
              <a:gd name="T110" fmla="*/ 9 w 444"/>
              <a:gd name="T111" fmla="*/ 78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4" h="812">
                <a:moveTo>
                  <a:pt x="0" y="85"/>
                </a:moveTo>
                <a:lnTo>
                  <a:pt x="3" y="99"/>
                </a:lnTo>
                <a:lnTo>
                  <a:pt x="6" y="104"/>
                </a:lnTo>
                <a:lnTo>
                  <a:pt x="12" y="113"/>
                </a:lnTo>
                <a:lnTo>
                  <a:pt x="28" y="127"/>
                </a:lnTo>
                <a:lnTo>
                  <a:pt x="43" y="141"/>
                </a:lnTo>
                <a:lnTo>
                  <a:pt x="51" y="146"/>
                </a:lnTo>
                <a:lnTo>
                  <a:pt x="58" y="153"/>
                </a:lnTo>
                <a:lnTo>
                  <a:pt x="72" y="166"/>
                </a:lnTo>
                <a:lnTo>
                  <a:pt x="85" y="168"/>
                </a:lnTo>
                <a:lnTo>
                  <a:pt x="100" y="166"/>
                </a:lnTo>
                <a:lnTo>
                  <a:pt x="115" y="166"/>
                </a:lnTo>
                <a:lnTo>
                  <a:pt x="130" y="166"/>
                </a:lnTo>
                <a:lnTo>
                  <a:pt x="143" y="170"/>
                </a:lnTo>
                <a:lnTo>
                  <a:pt x="164" y="180"/>
                </a:lnTo>
                <a:lnTo>
                  <a:pt x="170" y="197"/>
                </a:lnTo>
                <a:lnTo>
                  <a:pt x="168" y="210"/>
                </a:lnTo>
                <a:lnTo>
                  <a:pt x="158" y="218"/>
                </a:lnTo>
                <a:lnTo>
                  <a:pt x="143" y="222"/>
                </a:lnTo>
                <a:lnTo>
                  <a:pt x="132" y="225"/>
                </a:lnTo>
                <a:lnTo>
                  <a:pt x="131" y="237"/>
                </a:lnTo>
                <a:lnTo>
                  <a:pt x="141" y="250"/>
                </a:lnTo>
                <a:lnTo>
                  <a:pt x="157" y="255"/>
                </a:lnTo>
                <a:lnTo>
                  <a:pt x="170" y="257"/>
                </a:lnTo>
                <a:lnTo>
                  <a:pt x="194" y="272"/>
                </a:lnTo>
                <a:lnTo>
                  <a:pt x="197" y="282"/>
                </a:lnTo>
                <a:lnTo>
                  <a:pt x="199" y="293"/>
                </a:lnTo>
                <a:lnTo>
                  <a:pt x="202" y="307"/>
                </a:lnTo>
                <a:lnTo>
                  <a:pt x="208" y="317"/>
                </a:lnTo>
                <a:lnTo>
                  <a:pt x="213" y="324"/>
                </a:lnTo>
                <a:lnTo>
                  <a:pt x="223" y="330"/>
                </a:lnTo>
                <a:lnTo>
                  <a:pt x="230" y="333"/>
                </a:lnTo>
                <a:lnTo>
                  <a:pt x="241" y="336"/>
                </a:lnTo>
                <a:lnTo>
                  <a:pt x="252" y="338"/>
                </a:lnTo>
                <a:lnTo>
                  <a:pt x="253" y="352"/>
                </a:lnTo>
                <a:lnTo>
                  <a:pt x="256" y="359"/>
                </a:lnTo>
                <a:lnTo>
                  <a:pt x="260" y="368"/>
                </a:lnTo>
                <a:lnTo>
                  <a:pt x="274" y="374"/>
                </a:lnTo>
                <a:lnTo>
                  <a:pt x="286" y="377"/>
                </a:lnTo>
                <a:lnTo>
                  <a:pt x="300" y="382"/>
                </a:lnTo>
                <a:lnTo>
                  <a:pt x="310" y="391"/>
                </a:lnTo>
                <a:lnTo>
                  <a:pt x="315" y="403"/>
                </a:lnTo>
                <a:lnTo>
                  <a:pt x="320" y="426"/>
                </a:lnTo>
                <a:lnTo>
                  <a:pt x="326" y="445"/>
                </a:lnTo>
                <a:lnTo>
                  <a:pt x="331" y="458"/>
                </a:lnTo>
                <a:lnTo>
                  <a:pt x="342" y="472"/>
                </a:lnTo>
                <a:lnTo>
                  <a:pt x="345" y="486"/>
                </a:lnTo>
                <a:lnTo>
                  <a:pt x="345" y="501"/>
                </a:lnTo>
                <a:lnTo>
                  <a:pt x="348" y="529"/>
                </a:lnTo>
                <a:lnTo>
                  <a:pt x="351" y="555"/>
                </a:lnTo>
                <a:lnTo>
                  <a:pt x="353" y="569"/>
                </a:lnTo>
                <a:lnTo>
                  <a:pt x="355" y="584"/>
                </a:lnTo>
                <a:lnTo>
                  <a:pt x="353" y="595"/>
                </a:lnTo>
                <a:lnTo>
                  <a:pt x="349" y="599"/>
                </a:lnTo>
                <a:lnTo>
                  <a:pt x="328" y="609"/>
                </a:lnTo>
                <a:lnTo>
                  <a:pt x="302" y="614"/>
                </a:lnTo>
                <a:lnTo>
                  <a:pt x="285" y="623"/>
                </a:lnTo>
                <a:lnTo>
                  <a:pt x="269" y="634"/>
                </a:lnTo>
                <a:lnTo>
                  <a:pt x="263" y="643"/>
                </a:lnTo>
                <a:lnTo>
                  <a:pt x="262" y="652"/>
                </a:lnTo>
                <a:lnTo>
                  <a:pt x="268" y="658"/>
                </a:lnTo>
                <a:lnTo>
                  <a:pt x="273" y="667"/>
                </a:lnTo>
                <a:lnTo>
                  <a:pt x="271" y="678"/>
                </a:lnTo>
                <a:lnTo>
                  <a:pt x="259" y="681"/>
                </a:lnTo>
                <a:lnTo>
                  <a:pt x="247" y="677"/>
                </a:lnTo>
                <a:lnTo>
                  <a:pt x="231" y="675"/>
                </a:lnTo>
                <a:lnTo>
                  <a:pt x="220" y="684"/>
                </a:lnTo>
                <a:lnTo>
                  <a:pt x="210" y="703"/>
                </a:lnTo>
                <a:lnTo>
                  <a:pt x="203" y="725"/>
                </a:lnTo>
                <a:lnTo>
                  <a:pt x="202" y="726"/>
                </a:lnTo>
                <a:lnTo>
                  <a:pt x="215" y="739"/>
                </a:lnTo>
                <a:lnTo>
                  <a:pt x="218" y="750"/>
                </a:lnTo>
                <a:lnTo>
                  <a:pt x="218" y="761"/>
                </a:lnTo>
                <a:lnTo>
                  <a:pt x="213" y="781"/>
                </a:lnTo>
                <a:lnTo>
                  <a:pt x="218" y="792"/>
                </a:lnTo>
                <a:lnTo>
                  <a:pt x="221" y="810"/>
                </a:lnTo>
                <a:lnTo>
                  <a:pt x="223" y="812"/>
                </a:lnTo>
                <a:lnTo>
                  <a:pt x="232" y="807"/>
                </a:lnTo>
                <a:lnTo>
                  <a:pt x="240" y="799"/>
                </a:lnTo>
                <a:lnTo>
                  <a:pt x="247" y="789"/>
                </a:lnTo>
                <a:lnTo>
                  <a:pt x="262" y="769"/>
                </a:lnTo>
                <a:lnTo>
                  <a:pt x="280" y="766"/>
                </a:lnTo>
                <a:lnTo>
                  <a:pt x="284" y="763"/>
                </a:lnTo>
                <a:lnTo>
                  <a:pt x="280" y="735"/>
                </a:lnTo>
                <a:lnTo>
                  <a:pt x="284" y="733"/>
                </a:lnTo>
                <a:lnTo>
                  <a:pt x="292" y="747"/>
                </a:lnTo>
                <a:lnTo>
                  <a:pt x="302" y="750"/>
                </a:lnTo>
                <a:lnTo>
                  <a:pt x="311" y="750"/>
                </a:lnTo>
                <a:lnTo>
                  <a:pt x="314" y="747"/>
                </a:lnTo>
                <a:lnTo>
                  <a:pt x="317" y="724"/>
                </a:lnTo>
                <a:lnTo>
                  <a:pt x="319" y="714"/>
                </a:lnTo>
                <a:lnTo>
                  <a:pt x="324" y="703"/>
                </a:lnTo>
                <a:lnTo>
                  <a:pt x="346" y="697"/>
                </a:lnTo>
                <a:lnTo>
                  <a:pt x="358" y="690"/>
                </a:lnTo>
                <a:lnTo>
                  <a:pt x="368" y="687"/>
                </a:lnTo>
                <a:lnTo>
                  <a:pt x="378" y="680"/>
                </a:lnTo>
                <a:lnTo>
                  <a:pt x="419" y="648"/>
                </a:lnTo>
                <a:lnTo>
                  <a:pt x="430" y="640"/>
                </a:lnTo>
                <a:lnTo>
                  <a:pt x="435" y="630"/>
                </a:lnTo>
                <a:lnTo>
                  <a:pt x="438" y="615"/>
                </a:lnTo>
                <a:lnTo>
                  <a:pt x="438" y="605"/>
                </a:lnTo>
                <a:lnTo>
                  <a:pt x="440" y="576"/>
                </a:lnTo>
                <a:lnTo>
                  <a:pt x="438" y="555"/>
                </a:lnTo>
                <a:lnTo>
                  <a:pt x="444" y="544"/>
                </a:lnTo>
                <a:lnTo>
                  <a:pt x="444" y="529"/>
                </a:lnTo>
                <a:lnTo>
                  <a:pt x="440" y="518"/>
                </a:lnTo>
                <a:lnTo>
                  <a:pt x="435" y="508"/>
                </a:lnTo>
                <a:lnTo>
                  <a:pt x="432" y="477"/>
                </a:lnTo>
                <a:lnTo>
                  <a:pt x="416" y="451"/>
                </a:lnTo>
                <a:lnTo>
                  <a:pt x="414" y="440"/>
                </a:lnTo>
                <a:lnTo>
                  <a:pt x="406" y="429"/>
                </a:lnTo>
                <a:lnTo>
                  <a:pt x="383" y="415"/>
                </a:lnTo>
                <a:lnTo>
                  <a:pt x="378" y="403"/>
                </a:lnTo>
                <a:lnTo>
                  <a:pt x="365" y="388"/>
                </a:lnTo>
                <a:lnTo>
                  <a:pt x="346" y="375"/>
                </a:lnTo>
                <a:lnTo>
                  <a:pt x="332" y="370"/>
                </a:lnTo>
                <a:lnTo>
                  <a:pt x="314" y="354"/>
                </a:lnTo>
                <a:lnTo>
                  <a:pt x="300" y="340"/>
                </a:lnTo>
                <a:lnTo>
                  <a:pt x="289" y="331"/>
                </a:lnTo>
                <a:lnTo>
                  <a:pt x="279" y="310"/>
                </a:lnTo>
                <a:lnTo>
                  <a:pt x="267" y="303"/>
                </a:lnTo>
                <a:lnTo>
                  <a:pt x="253" y="292"/>
                </a:lnTo>
                <a:lnTo>
                  <a:pt x="232" y="275"/>
                </a:lnTo>
                <a:lnTo>
                  <a:pt x="213" y="256"/>
                </a:lnTo>
                <a:lnTo>
                  <a:pt x="202" y="247"/>
                </a:lnTo>
                <a:lnTo>
                  <a:pt x="205" y="238"/>
                </a:lnTo>
                <a:lnTo>
                  <a:pt x="210" y="224"/>
                </a:lnTo>
                <a:lnTo>
                  <a:pt x="210" y="211"/>
                </a:lnTo>
                <a:lnTo>
                  <a:pt x="221" y="191"/>
                </a:lnTo>
                <a:lnTo>
                  <a:pt x="238" y="175"/>
                </a:lnTo>
                <a:lnTo>
                  <a:pt x="240" y="152"/>
                </a:lnTo>
                <a:lnTo>
                  <a:pt x="248" y="141"/>
                </a:lnTo>
                <a:lnTo>
                  <a:pt x="253" y="129"/>
                </a:lnTo>
                <a:lnTo>
                  <a:pt x="269" y="121"/>
                </a:lnTo>
                <a:lnTo>
                  <a:pt x="297" y="96"/>
                </a:lnTo>
                <a:lnTo>
                  <a:pt x="287" y="99"/>
                </a:lnTo>
                <a:lnTo>
                  <a:pt x="284" y="90"/>
                </a:lnTo>
                <a:lnTo>
                  <a:pt x="274" y="83"/>
                </a:lnTo>
                <a:lnTo>
                  <a:pt x="256" y="76"/>
                </a:lnTo>
                <a:lnTo>
                  <a:pt x="245" y="71"/>
                </a:lnTo>
                <a:lnTo>
                  <a:pt x="223" y="65"/>
                </a:lnTo>
                <a:lnTo>
                  <a:pt x="215" y="58"/>
                </a:lnTo>
                <a:lnTo>
                  <a:pt x="230" y="44"/>
                </a:lnTo>
                <a:lnTo>
                  <a:pt x="234" y="36"/>
                </a:lnTo>
                <a:lnTo>
                  <a:pt x="234" y="30"/>
                </a:lnTo>
                <a:lnTo>
                  <a:pt x="231" y="26"/>
                </a:lnTo>
                <a:lnTo>
                  <a:pt x="226" y="25"/>
                </a:lnTo>
                <a:lnTo>
                  <a:pt x="199" y="30"/>
                </a:lnTo>
                <a:lnTo>
                  <a:pt x="190" y="26"/>
                </a:lnTo>
                <a:lnTo>
                  <a:pt x="188" y="16"/>
                </a:lnTo>
                <a:lnTo>
                  <a:pt x="185" y="5"/>
                </a:lnTo>
                <a:lnTo>
                  <a:pt x="173" y="0"/>
                </a:lnTo>
                <a:lnTo>
                  <a:pt x="158" y="5"/>
                </a:lnTo>
                <a:lnTo>
                  <a:pt x="146" y="16"/>
                </a:lnTo>
                <a:lnTo>
                  <a:pt x="143" y="30"/>
                </a:lnTo>
                <a:lnTo>
                  <a:pt x="140" y="43"/>
                </a:lnTo>
                <a:lnTo>
                  <a:pt x="130" y="54"/>
                </a:lnTo>
                <a:lnTo>
                  <a:pt x="122" y="57"/>
                </a:lnTo>
                <a:lnTo>
                  <a:pt x="116" y="59"/>
                </a:lnTo>
                <a:lnTo>
                  <a:pt x="102" y="65"/>
                </a:lnTo>
                <a:lnTo>
                  <a:pt x="85" y="71"/>
                </a:lnTo>
                <a:lnTo>
                  <a:pt x="78" y="65"/>
                </a:lnTo>
                <a:lnTo>
                  <a:pt x="72" y="60"/>
                </a:lnTo>
                <a:lnTo>
                  <a:pt x="61" y="67"/>
                </a:lnTo>
                <a:lnTo>
                  <a:pt x="43" y="79"/>
                </a:lnTo>
                <a:lnTo>
                  <a:pt x="28" y="73"/>
                </a:lnTo>
                <a:lnTo>
                  <a:pt x="18" y="74"/>
                </a:lnTo>
                <a:lnTo>
                  <a:pt x="9" y="78"/>
                </a:lnTo>
                <a:lnTo>
                  <a:pt x="0" y="85"/>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26" name="Freeform 26">
            <a:extLst>
              <a:ext uri="{FF2B5EF4-FFF2-40B4-BE49-F238E27FC236}">
                <a16:creationId xmlns:a16="http://schemas.microsoft.com/office/drawing/2014/main" id="{731662F6-53D2-486C-9F2F-52797EF9CDF7}"/>
              </a:ext>
            </a:extLst>
          </p:cNvPr>
          <p:cNvSpPr>
            <a:spLocks/>
          </p:cNvSpPr>
          <p:nvPr>
            <p:custDataLst>
              <p:tags r:id="rId19"/>
            </p:custDataLst>
          </p:nvPr>
        </p:nvSpPr>
        <p:spPr bwMode="auto">
          <a:xfrm rot="120000">
            <a:off x="8453355" y="3447180"/>
            <a:ext cx="730229" cy="734991"/>
          </a:xfrm>
          <a:custGeom>
            <a:avLst/>
            <a:gdLst>
              <a:gd name="T0" fmla="*/ 39 w 448"/>
              <a:gd name="T1" fmla="*/ 69 h 452"/>
              <a:gd name="T2" fmla="*/ 71 w 448"/>
              <a:gd name="T3" fmla="*/ 69 h 452"/>
              <a:gd name="T4" fmla="*/ 86 w 448"/>
              <a:gd name="T5" fmla="*/ 30 h 452"/>
              <a:gd name="T6" fmla="*/ 86 w 448"/>
              <a:gd name="T7" fmla="*/ 0 h 452"/>
              <a:gd name="T8" fmla="*/ 107 w 448"/>
              <a:gd name="T9" fmla="*/ 21 h 452"/>
              <a:gd name="T10" fmla="*/ 144 w 448"/>
              <a:gd name="T11" fmla="*/ 58 h 452"/>
              <a:gd name="T12" fmla="*/ 173 w 448"/>
              <a:gd name="T13" fmla="*/ 82 h 452"/>
              <a:gd name="T14" fmla="*/ 216 w 448"/>
              <a:gd name="T15" fmla="*/ 82 h 452"/>
              <a:gd name="T16" fmla="*/ 265 w 448"/>
              <a:gd name="T17" fmla="*/ 96 h 452"/>
              <a:gd name="T18" fmla="*/ 259 w 448"/>
              <a:gd name="T19" fmla="*/ 135 h 452"/>
              <a:gd name="T20" fmla="*/ 232 w 448"/>
              <a:gd name="T21" fmla="*/ 154 h 452"/>
              <a:gd name="T22" fmla="*/ 271 w 448"/>
              <a:gd name="T23" fmla="*/ 174 h 452"/>
              <a:gd name="T24" fmla="*/ 300 w 448"/>
              <a:gd name="T25" fmla="*/ 210 h 452"/>
              <a:gd name="T26" fmla="*/ 314 w 448"/>
              <a:gd name="T27" fmla="*/ 241 h 452"/>
              <a:gd name="T28" fmla="*/ 342 w 448"/>
              <a:gd name="T29" fmla="*/ 253 h 452"/>
              <a:gd name="T30" fmla="*/ 358 w 448"/>
              <a:gd name="T31" fmla="*/ 276 h 452"/>
              <a:gd name="T32" fmla="*/ 387 w 448"/>
              <a:gd name="T33" fmla="*/ 294 h 452"/>
              <a:gd name="T34" fmla="*/ 416 w 448"/>
              <a:gd name="T35" fmla="*/ 320 h 452"/>
              <a:gd name="T36" fmla="*/ 432 w 448"/>
              <a:gd name="T37" fmla="*/ 375 h 452"/>
              <a:gd name="T38" fmla="*/ 446 w 448"/>
              <a:gd name="T39" fmla="*/ 418 h 452"/>
              <a:gd name="T40" fmla="*/ 431 w 448"/>
              <a:gd name="T41" fmla="*/ 420 h 452"/>
              <a:gd name="T42" fmla="*/ 415 w 448"/>
              <a:gd name="T43" fmla="*/ 431 h 452"/>
              <a:gd name="T44" fmla="*/ 406 w 448"/>
              <a:gd name="T45" fmla="*/ 437 h 452"/>
              <a:gd name="T46" fmla="*/ 395 w 448"/>
              <a:gd name="T47" fmla="*/ 429 h 452"/>
              <a:gd name="T48" fmla="*/ 388 w 448"/>
              <a:gd name="T49" fmla="*/ 416 h 452"/>
              <a:gd name="T50" fmla="*/ 378 w 448"/>
              <a:gd name="T51" fmla="*/ 405 h 452"/>
              <a:gd name="T52" fmla="*/ 370 w 448"/>
              <a:gd name="T53" fmla="*/ 412 h 452"/>
              <a:gd name="T54" fmla="*/ 366 w 448"/>
              <a:gd name="T55" fmla="*/ 432 h 452"/>
              <a:gd name="T56" fmla="*/ 364 w 448"/>
              <a:gd name="T57" fmla="*/ 447 h 452"/>
              <a:gd name="T58" fmla="*/ 354 w 448"/>
              <a:gd name="T59" fmla="*/ 450 h 452"/>
              <a:gd name="T60" fmla="*/ 345 w 448"/>
              <a:gd name="T61" fmla="*/ 438 h 452"/>
              <a:gd name="T62" fmla="*/ 324 w 448"/>
              <a:gd name="T63" fmla="*/ 417 h 452"/>
              <a:gd name="T64" fmla="*/ 335 w 448"/>
              <a:gd name="T65" fmla="*/ 375 h 452"/>
              <a:gd name="T66" fmla="*/ 322 w 448"/>
              <a:gd name="T67" fmla="*/ 334 h 452"/>
              <a:gd name="T68" fmla="*/ 284 w 448"/>
              <a:gd name="T69" fmla="*/ 292 h 452"/>
              <a:gd name="T70" fmla="*/ 257 w 448"/>
              <a:gd name="T71" fmla="*/ 255 h 452"/>
              <a:gd name="T72" fmla="*/ 233 w 448"/>
              <a:gd name="T73" fmla="*/ 234 h 452"/>
              <a:gd name="T74" fmla="*/ 201 w 448"/>
              <a:gd name="T75" fmla="*/ 208 h 452"/>
              <a:gd name="T76" fmla="*/ 170 w 448"/>
              <a:gd name="T77" fmla="*/ 230 h 452"/>
              <a:gd name="T78" fmla="*/ 165 w 448"/>
              <a:gd name="T79" fmla="*/ 247 h 452"/>
              <a:gd name="T80" fmla="*/ 140 w 448"/>
              <a:gd name="T81" fmla="*/ 244 h 452"/>
              <a:gd name="T82" fmla="*/ 102 w 448"/>
              <a:gd name="T83" fmla="*/ 252 h 452"/>
              <a:gd name="T84" fmla="*/ 74 w 448"/>
              <a:gd name="T85" fmla="*/ 223 h 452"/>
              <a:gd name="T86" fmla="*/ 66 w 448"/>
              <a:gd name="T87" fmla="*/ 167 h 452"/>
              <a:gd name="T88" fmla="*/ 31 w 448"/>
              <a:gd name="T89" fmla="*/ 165 h 452"/>
              <a:gd name="T90" fmla="*/ 25 w 448"/>
              <a:gd name="T91" fmla="*/ 127 h 452"/>
              <a:gd name="T92" fmla="*/ 17 w 448"/>
              <a:gd name="T93" fmla="*/ 102 h 452"/>
              <a:gd name="T94" fmla="*/ 28 w 448"/>
              <a:gd name="T95" fmla="*/ 80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8" h="452">
                <a:moveTo>
                  <a:pt x="28" y="70"/>
                </a:moveTo>
                <a:lnTo>
                  <a:pt x="28" y="71"/>
                </a:lnTo>
                <a:lnTo>
                  <a:pt x="39" y="69"/>
                </a:lnTo>
                <a:lnTo>
                  <a:pt x="50" y="67"/>
                </a:lnTo>
                <a:lnTo>
                  <a:pt x="57" y="69"/>
                </a:lnTo>
                <a:lnTo>
                  <a:pt x="71" y="69"/>
                </a:lnTo>
                <a:lnTo>
                  <a:pt x="83" y="63"/>
                </a:lnTo>
                <a:lnTo>
                  <a:pt x="90" y="47"/>
                </a:lnTo>
                <a:lnTo>
                  <a:pt x="86" y="30"/>
                </a:lnTo>
                <a:lnTo>
                  <a:pt x="77" y="19"/>
                </a:lnTo>
                <a:lnTo>
                  <a:pt x="74" y="4"/>
                </a:lnTo>
                <a:lnTo>
                  <a:pt x="86" y="0"/>
                </a:lnTo>
                <a:lnTo>
                  <a:pt x="101" y="2"/>
                </a:lnTo>
                <a:lnTo>
                  <a:pt x="104" y="16"/>
                </a:lnTo>
                <a:lnTo>
                  <a:pt x="107" y="21"/>
                </a:lnTo>
                <a:lnTo>
                  <a:pt x="113" y="30"/>
                </a:lnTo>
                <a:lnTo>
                  <a:pt x="129" y="44"/>
                </a:lnTo>
                <a:lnTo>
                  <a:pt x="144" y="58"/>
                </a:lnTo>
                <a:lnTo>
                  <a:pt x="152" y="63"/>
                </a:lnTo>
                <a:lnTo>
                  <a:pt x="159" y="70"/>
                </a:lnTo>
                <a:lnTo>
                  <a:pt x="173" y="82"/>
                </a:lnTo>
                <a:lnTo>
                  <a:pt x="186" y="85"/>
                </a:lnTo>
                <a:lnTo>
                  <a:pt x="201" y="82"/>
                </a:lnTo>
                <a:lnTo>
                  <a:pt x="216" y="82"/>
                </a:lnTo>
                <a:lnTo>
                  <a:pt x="231" y="82"/>
                </a:lnTo>
                <a:lnTo>
                  <a:pt x="244" y="87"/>
                </a:lnTo>
                <a:lnTo>
                  <a:pt x="265" y="96"/>
                </a:lnTo>
                <a:lnTo>
                  <a:pt x="271" y="113"/>
                </a:lnTo>
                <a:lnTo>
                  <a:pt x="269" y="127"/>
                </a:lnTo>
                <a:lnTo>
                  <a:pt x="259" y="135"/>
                </a:lnTo>
                <a:lnTo>
                  <a:pt x="244" y="139"/>
                </a:lnTo>
                <a:lnTo>
                  <a:pt x="233" y="142"/>
                </a:lnTo>
                <a:lnTo>
                  <a:pt x="232" y="154"/>
                </a:lnTo>
                <a:lnTo>
                  <a:pt x="242" y="167"/>
                </a:lnTo>
                <a:lnTo>
                  <a:pt x="257" y="172"/>
                </a:lnTo>
                <a:lnTo>
                  <a:pt x="271" y="174"/>
                </a:lnTo>
                <a:lnTo>
                  <a:pt x="296" y="189"/>
                </a:lnTo>
                <a:lnTo>
                  <a:pt x="299" y="199"/>
                </a:lnTo>
                <a:lnTo>
                  <a:pt x="300" y="210"/>
                </a:lnTo>
                <a:lnTo>
                  <a:pt x="303" y="223"/>
                </a:lnTo>
                <a:lnTo>
                  <a:pt x="309" y="234"/>
                </a:lnTo>
                <a:lnTo>
                  <a:pt x="314" y="241"/>
                </a:lnTo>
                <a:lnTo>
                  <a:pt x="324" y="247"/>
                </a:lnTo>
                <a:lnTo>
                  <a:pt x="331" y="250"/>
                </a:lnTo>
                <a:lnTo>
                  <a:pt x="342" y="253"/>
                </a:lnTo>
                <a:lnTo>
                  <a:pt x="353" y="255"/>
                </a:lnTo>
                <a:lnTo>
                  <a:pt x="355" y="269"/>
                </a:lnTo>
                <a:lnTo>
                  <a:pt x="358" y="276"/>
                </a:lnTo>
                <a:lnTo>
                  <a:pt x="361" y="284"/>
                </a:lnTo>
                <a:lnTo>
                  <a:pt x="374" y="291"/>
                </a:lnTo>
                <a:lnTo>
                  <a:pt x="387" y="294"/>
                </a:lnTo>
                <a:lnTo>
                  <a:pt x="401" y="299"/>
                </a:lnTo>
                <a:lnTo>
                  <a:pt x="411" y="308"/>
                </a:lnTo>
                <a:lnTo>
                  <a:pt x="416" y="320"/>
                </a:lnTo>
                <a:lnTo>
                  <a:pt x="421" y="343"/>
                </a:lnTo>
                <a:lnTo>
                  <a:pt x="427" y="362"/>
                </a:lnTo>
                <a:lnTo>
                  <a:pt x="432" y="375"/>
                </a:lnTo>
                <a:lnTo>
                  <a:pt x="443" y="389"/>
                </a:lnTo>
                <a:lnTo>
                  <a:pt x="446" y="403"/>
                </a:lnTo>
                <a:lnTo>
                  <a:pt x="446" y="418"/>
                </a:lnTo>
                <a:lnTo>
                  <a:pt x="448" y="417"/>
                </a:lnTo>
                <a:lnTo>
                  <a:pt x="437" y="419"/>
                </a:lnTo>
                <a:lnTo>
                  <a:pt x="431" y="420"/>
                </a:lnTo>
                <a:lnTo>
                  <a:pt x="426" y="425"/>
                </a:lnTo>
                <a:lnTo>
                  <a:pt x="418" y="429"/>
                </a:lnTo>
                <a:lnTo>
                  <a:pt x="415" y="431"/>
                </a:lnTo>
                <a:lnTo>
                  <a:pt x="411" y="434"/>
                </a:lnTo>
                <a:lnTo>
                  <a:pt x="406" y="436"/>
                </a:lnTo>
                <a:lnTo>
                  <a:pt x="406" y="437"/>
                </a:lnTo>
                <a:lnTo>
                  <a:pt x="401" y="434"/>
                </a:lnTo>
                <a:lnTo>
                  <a:pt x="397" y="434"/>
                </a:lnTo>
                <a:lnTo>
                  <a:pt x="395" y="429"/>
                </a:lnTo>
                <a:lnTo>
                  <a:pt x="391" y="425"/>
                </a:lnTo>
                <a:lnTo>
                  <a:pt x="390" y="420"/>
                </a:lnTo>
                <a:lnTo>
                  <a:pt x="388" y="416"/>
                </a:lnTo>
                <a:lnTo>
                  <a:pt x="386" y="411"/>
                </a:lnTo>
                <a:lnTo>
                  <a:pt x="383" y="407"/>
                </a:lnTo>
                <a:lnTo>
                  <a:pt x="378" y="405"/>
                </a:lnTo>
                <a:lnTo>
                  <a:pt x="375" y="407"/>
                </a:lnTo>
                <a:lnTo>
                  <a:pt x="372" y="410"/>
                </a:lnTo>
                <a:lnTo>
                  <a:pt x="370" y="412"/>
                </a:lnTo>
                <a:lnTo>
                  <a:pt x="369" y="419"/>
                </a:lnTo>
                <a:lnTo>
                  <a:pt x="367" y="426"/>
                </a:lnTo>
                <a:lnTo>
                  <a:pt x="366" y="432"/>
                </a:lnTo>
                <a:lnTo>
                  <a:pt x="366" y="439"/>
                </a:lnTo>
                <a:lnTo>
                  <a:pt x="365" y="444"/>
                </a:lnTo>
                <a:lnTo>
                  <a:pt x="364" y="447"/>
                </a:lnTo>
                <a:lnTo>
                  <a:pt x="361" y="450"/>
                </a:lnTo>
                <a:lnTo>
                  <a:pt x="358" y="452"/>
                </a:lnTo>
                <a:lnTo>
                  <a:pt x="354" y="450"/>
                </a:lnTo>
                <a:lnTo>
                  <a:pt x="351" y="447"/>
                </a:lnTo>
                <a:lnTo>
                  <a:pt x="348" y="445"/>
                </a:lnTo>
                <a:lnTo>
                  <a:pt x="345" y="438"/>
                </a:lnTo>
                <a:lnTo>
                  <a:pt x="341" y="431"/>
                </a:lnTo>
                <a:lnTo>
                  <a:pt x="330" y="422"/>
                </a:lnTo>
                <a:lnTo>
                  <a:pt x="324" y="417"/>
                </a:lnTo>
                <a:lnTo>
                  <a:pt x="330" y="401"/>
                </a:lnTo>
                <a:lnTo>
                  <a:pt x="333" y="389"/>
                </a:lnTo>
                <a:lnTo>
                  <a:pt x="335" y="375"/>
                </a:lnTo>
                <a:lnTo>
                  <a:pt x="333" y="362"/>
                </a:lnTo>
                <a:lnTo>
                  <a:pt x="330" y="347"/>
                </a:lnTo>
                <a:lnTo>
                  <a:pt x="322" y="334"/>
                </a:lnTo>
                <a:lnTo>
                  <a:pt x="303" y="320"/>
                </a:lnTo>
                <a:lnTo>
                  <a:pt x="291" y="307"/>
                </a:lnTo>
                <a:lnTo>
                  <a:pt x="284" y="292"/>
                </a:lnTo>
                <a:lnTo>
                  <a:pt x="275" y="279"/>
                </a:lnTo>
                <a:lnTo>
                  <a:pt x="265" y="265"/>
                </a:lnTo>
                <a:lnTo>
                  <a:pt x="257" y="255"/>
                </a:lnTo>
                <a:lnTo>
                  <a:pt x="248" y="248"/>
                </a:lnTo>
                <a:lnTo>
                  <a:pt x="240" y="242"/>
                </a:lnTo>
                <a:lnTo>
                  <a:pt x="233" y="234"/>
                </a:lnTo>
                <a:lnTo>
                  <a:pt x="220" y="223"/>
                </a:lnTo>
                <a:lnTo>
                  <a:pt x="214" y="212"/>
                </a:lnTo>
                <a:lnTo>
                  <a:pt x="201" y="208"/>
                </a:lnTo>
                <a:lnTo>
                  <a:pt x="190" y="212"/>
                </a:lnTo>
                <a:lnTo>
                  <a:pt x="181" y="223"/>
                </a:lnTo>
                <a:lnTo>
                  <a:pt x="170" y="230"/>
                </a:lnTo>
                <a:lnTo>
                  <a:pt x="166" y="237"/>
                </a:lnTo>
                <a:lnTo>
                  <a:pt x="166" y="244"/>
                </a:lnTo>
                <a:lnTo>
                  <a:pt x="165" y="247"/>
                </a:lnTo>
                <a:lnTo>
                  <a:pt x="155" y="249"/>
                </a:lnTo>
                <a:lnTo>
                  <a:pt x="148" y="247"/>
                </a:lnTo>
                <a:lnTo>
                  <a:pt x="140" y="244"/>
                </a:lnTo>
                <a:lnTo>
                  <a:pt x="134" y="242"/>
                </a:lnTo>
                <a:lnTo>
                  <a:pt x="119" y="245"/>
                </a:lnTo>
                <a:lnTo>
                  <a:pt x="102" y="252"/>
                </a:lnTo>
                <a:lnTo>
                  <a:pt x="86" y="253"/>
                </a:lnTo>
                <a:lnTo>
                  <a:pt x="73" y="252"/>
                </a:lnTo>
                <a:lnTo>
                  <a:pt x="74" y="223"/>
                </a:lnTo>
                <a:lnTo>
                  <a:pt x="75" y="195"/>
                </a:lnTo>
                <a:lnTo>
                  <a:pt x="74" y="183"/>
                </a:lnTo>
                <a:lnTo>
                  <a:pt x="66" y="167"/>
                </a:lnTo>
                <a:lnTo>
                  <a:pt x="59" y="157"/>
                </a:lnTo>
                <a:lnTo>
                  <a:pt x="42" y="167"/>
                </a:lnTo>
                <a:lnTo>
                  <a:pt x="31" y="165"/>
                </a:lnTo>
                <a:lnTo>
                  <a:pt x="30" y="154"/>
                </a:lnTo>
                <a:lnTo>
                  <a:pt x="28" y="140"/>
                </a:lnTo>
                <a:lnTo>
                  <a:pt x="25" y="127"/>
                </a:lnTo>
                <a:lnTo>
                  <a:pt x="14" y="117"/>
                </a:lnTo>
                <a:lnTo>
                  <a:pt x="0" y="113"/>
                </a:lnTo>
                <a:lnTo>
                  <a:pt x="17" y="102"/>
                </a:lnTo>
                <a:lnTo>
                  <a:pt x="23" y="93"/>
                </a:lnTo>
                <a:lnTo>
                  <a:pt x="26" y="82"/>
                </a:lnTo>
                <a:lnTo>
                  <a:pt x="28" y="80"/>
                </a:lnTo>
                <a:lnTo>
                  <a:pt x="28" y="7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27" name="Freeform 27">
            <a:extLst>
              <a:ext uri="{FF2B5EF4-FFF2-40B4-BE49-F238E27FC236}">
                <a16:creationId xmlns:a16="http://schemas.microsoft.com/office/drawing/2014/main" id="{B277C3B3-08A3-47D7-83AA-A928B3B60764}"/>
              </a:ext>
            </a:extLst>
          </p:cNvPr>
          <p:cNvSpPr>
            <a:spLocks/>
          </p:cNvSpPr>
          <p:nvPr>
            <p:custDataLst>
              <p:tags r:id="rId20"/>
            </p:custDataLst>
          </p:nvPr>
        </p:nvSpPr>
        <p:spPr bwMode="auto">
          <a:xfrm rot="120000">
            <a:off x="7753288" y="2931259"/>
            <a:ext cx="747691" cy="1603328"/>
          </a:xfrm>
          <a:custGeom>
            <a:avLst/>
            <a:gdLst>
              <a:gd name="T0" fmla="*/ 41 w 459"/>
              <a:gd name="T1" fmla="*/ 383 h 987"/>
              <a:gd name="T2" fmla="*/ 2 w 459"/>
              <a:gd name="T3" fmla="*/ 417 h 987"/>
              <a:gd name="T4" fmla="*/ 25 w 459"/>
              <a:gd name="T5" fmla="*/ 442 h 987"/>
              <a:gd name="T6" fmla="*/ 71 w 459"/>
              <a:gd name="T7" fmla="*/ 465 h 987"/>
              <a:gd name="T8" fmla="*/ 103 w 459"/>
              <a:gd name="T9" fmla="*/ 501 h 987"/>
              <a:gd name="T10" fmla="*/ 114 w 459"/>
              <a:gd name="T11" fmla="*/ 544 h 987"/>
              <a:gd name="T12" fmla="*/ 133 w 459"/>
              <a:gd name="T13" fmla="*/ 589 h 987"/>
              <a:gd name="T14" fmla="*/ 125 w 459"/>
              <a:gd name="T15" fmla="*/ 659 h 987"/>
              <a:gd name="T16" fmla="*/ 160 w 459"/>
              <a:gd name="T17" fmla="*/ 682 h 987"/>
              <a:gd name="T18" fmla="*/ 206 w 459"/>
              <a:gd name="T19" fmla="*/ 670 h 987"/>
              <a:gd name="T20" fmla="*/ 256 w 459"/>
              <a:gd name="T21" fmla="*/ 626 h 987"/>
              <a:gd name="T22" fmla="*/ 274 w 459"/>
              <a:gd name="T23" fmla="*/ 631 h 987"/>
              <a:gd name="T24" fmla="*/ 299 w 459"/>
              <a:gd name="T25" fmla="*/ 682 h 987"/>
              <a:gd name="T26" fmla="*/ 315 w 459"/>
              <a:gd name="T27" fmla="*/ 725 h 987"/>
              <a:gd name="T28" fmla="*/ 345 w 459"/>
              <a:gd name="T29" fmla="*/ 797 h 987"/>
              <a:gd name="T30" fmla="*/ 363 w 459"/>
              <a:gd name="T31" fmla="*/ 847 h 987"/>
              <a:gd name="T32" fmla="*/ 366 w 459"/>
              <a:gd name="T33" fmla="*/ 914 h 987"/>
              <a:gd name="T34" fmla="*/ 373 w 459"/>
              <a:gd name="T35" fmla="*/ 973 h 987"/>
              <a:gd name="T36" fmla="*/ 418 w 459"/>
              <a:gd name="T37" fmla="*/ 886 h 987"/>
              <a:gd name="T38" fmla="*/ 403 w 459"/>
              <a:gd name="T39" fmla="*/ 814 h 987"/>
              <a:gd name="T40" fmla="*/ 370 w 459"/>
              <a:gd name="T41" fmla="*/ 748 h 987"/>
              <a:gd name="T42" fmla="*/ 357 w 459"/>
              <a:gd name="T43" fmla="*/ 706 h 987"/>
              <a:gd name="T44" fmla="*/ 376 w 459"/>
              <a:gd name="T45" fmla="*/ 650 h 987"/>
              <a:gd name="T46" fmla="*/ 315 w 459"/>
              <a:gd name="T47" fmla="*/ 583 h 987"/>
              <a:gd name="T48" fmla="*/ 290 w 459"/>
              <a:gd name="T49" fmla="*/ 526 h 987"/>
              <a:gd name="T50" fmla="*/ 330 w 459"/>
              <a:gd name="T51" fmla="*/ 460 h 987"/>
              <a:gd name="T52" fmla="*/ 386 w 459"/>
              <a:gd name="T53" fmla="*/ 440 h 987"/>
              <a:gd name="T54" fmla="*/ 448 w 459"/>
              <a:gd name="T55" fmla="*/ 404 h 987"/>
              <a:gd name="T56" fmla="*/ 459 w 459"/>
              <a:gd name="T57" fmla="*/ 372 h 987"/>
              <a:gd name="T58" fmla="*/ 431 w 459"/>
              <a:gd name="T59" fmla="*/ 349 h 987"/>
              <a:gd name="T60" fmla="*/ 386 w 459"/>
              <a:gd name="T61" fmla="*/ 325 h 987"/>
              <a:gd name="T62" fmla="*/ 392 w 459"/>
              <a:gd name="T63" fmla="*/ 291 h 987"/>
              <a:gd name="T64" fmla="*/ 377 w 459"/>
              <a:gd name="T65" fmla="*/ 275 h 987"/>
              <a:gd name="T66" fmla="*/ 342 w 459"/>
              <a:gd name="T67" fmla="*/ 246 h 987"/>
              <a:gd name="T68" fmla="*/ 295 w 459"/>
              <a:gd name="T69" fmla="*/ 258 h 987"/>
              <a:gd name="T70" fmla="*/ 286 w 459"/>
              <a:gd name="T71" fmla="*/ 244 h 987"/>
              <a:gd name="T72" fmla="*/ 286 w 459"/>
              <a:gd name="T73" fmla="*/ 216 h 987"/>
              <a:gd name="T74" fmla="*/ 268 w 459"/>
              <a:gd name="T75" fmla="*/ 188 h 987"/>
              <a:gd name="T76" fmla="*/ 313 w 459"/>
              <a:gd name="T77" fmla="*/ 152 h 987"/>
              <a:gd name="T78" fmla="*/ 349 w 459"/>
              <a:gd name="T79" fmla="*/ 96 h 987"/>
              <a:gd name="T80" fmla="*/ 331 w 459"/>
              <a:gd name="T81" fmla="*/ 30 h 987"/>
              <a:gd name="T82" fmla="*/ 283 w 459"/>
              <a:gd name="T83" fmla="*/ 13 h 987"/>
              <a:gd name="T84" fmla="*/ 245 w 459"/>
              <a:gd name="T85" fmla="*/ 27 h 987"/>
              <a:gd name="T86" fmla="*/ 211 w 459"/>
              <a:gd name="T87" fmla="*/ 67 h 987"/>
              <a:gd name="T88" fmla="*/ 172 w 459"/>
              <a:gd name="T89" fmla="*/ 119 h 987"/>
              <a:gd name="T90" fmla="*/ 131 w 459"/>
              <a:gd name="T91" fmla="*/ 194 h 987"/>
              <a:gd name="T92" fmla="*/ 89 w 459"/>
              <a:gd name="T93" fmla="*/ 253 h 987"/>
              <a:gd name="T94" fmla="*/ 69 w 459"/>
              <a:gd name="T95" fmla="*/ 305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59" h="987">
                <a:moveTo>
                  <a:pt x="27" y="332"/>
                </a:moveTo>
                <a:lnTo>
                  <a:pt x="33" y="354"/>
                </a:lnTo>
                <a:lnTo>
                  <a:pt x="36" y="368"/>
                </a:lnTo>
                <a:lnTo>
                  <a:pt x="41" y="383"/>
                </a:lnTo>
                <a:lnTo>
                  <a:pt x="45" y="398"/>
                </a:lnTo>
                <a:lnTo>
                  <a:pt x="23" y="387"/>
                </a:lnTo>
                <a:lnTo>
                  <a:pt x="13" y="400"/>
                </a:lnTo>
                <a:lnTo>
                  <a:pt x="2" y="417"/>
                </a:lnTo>
                <a:lnTo>
                  <a:pt x="0" y="418"/>
                </a:lnTo>
                <a:lnTo>
                  <a:pt x="6" y="428"/>
                </a:lnTo>
                <a:lnTo>
                  <a:pt x="9" y="431"/>
                </a:lnTo>
                <a:lnTo>
                  <a:pt x="25" y="442"/>
                </a:lnTo>
                <a:lnTo>
                  <a:pt x="30" y="452"/>
                </a:lnTo>
                <a:lnTo>
                  <a:pt x="41" y="462"/>
                </a:lnTo>
                <a:lnTo>
                  <a:pt x="53" y="465"/>
                </a:lnTo>
                <a:lnTo>
                  <a:pt x="71" y="465"/>
                </a:lnTo>
                <a:lnTo>
                  <a:pt x="82" y="469"/>
                </a:lnTo>
                <a:lnTo>
                  <a:pt x="95" y="480"/>
                </a:lnTo>
                <a:lnTo>
                  <a:pt x="101" y="490"/>
                </a:lnTo>
                <a:lnTo>
                  <a:pt x="103" y="501"/>
                </a:lnTo>
                <a:lnTo>
                  <a:pt x="109" y="511"/>
                </a:lnTo>
                <a:lnTo>
                  <a:pt x="112" y="522"/>
                </a:lnTo>
                <a:lnTo>
                  <a:pt x="112" y="534"/>
                </a:lnTo>
                <a:lnTo>
                  <a:pt x="114" y="544"/>
                </a:lnTo>
                <a:lnTo>
                  <a:pt x="119" y="559"/>
                </a:lnTo>
                <a:lnTo>
                  <a:pt x="125" y="568"/>
                </a:lnTo>
                <a:lnTo>
                  <a:pt x="128" y="579"/>
                </a:lnTo>
                <a:lnTo>
                  <a:pt x="133" y="589"/>
                </a:lnTo>
                <a:lnTo>
                  <a:pt x="133" y="613"/>
                </a:lnTo>
                <a:lnTo>
                  <a:pt x="131" y="626"/>
                </a:lnTo>
                <a:lnTo>
                  <a:pt x="128" y="641"/>
                </a:lnTo>
                <a:lnTo>
                  <a:pt x="125" y="659"/>
                </a:lnTo>
                <a:lnTo>
                  <a:pt x="122" y="682"/>
                </a:lnTo>
                <a:lnTo>
                  <a:pt x="131" y="690"/>
                </a:lnTo>
                <a:lnTo>
                  <a:pt x="150" y="690"/>
                </a:lnTo>
                <a:lnTo>
                  <a:pt x="160" y="682"/>
                </a:lnTo>
                <a:lnTo>
                  <a:pt x="179" y="681"/>
                </a:lnTo>
                <a:lnTo>
                  <a:pt x="190" y="678"/>
                </a:lnTo>
                <a:lnTo>
                  <a:pt x="204" y="671"/>
                </a:lnTo>
                <a:lnTo>
                  <a:pt x="206" y="670"/>
                </a:lnTo>
                <a:lnTo>
                  <a:pt x="217" y="656"/>
                </a:lnTo>
                <a:lnTo>
                  <a:pt x="222" y="647"/>
                </a:lnTo>
                <a:lnTo>
                  <a:pt x="242" y="639"/>
                </a:lnTo>
                <a:lnTo>
                  <a:pt x="256" y="626"/>
                </a:lnTo>
                <a:lnTo>
                  <a:pt x="260" y="615"/>
                </a:lnTo>
                <a:lnTo>
                  <a:pt x="264" y="615"/>
                </a:lnTo>
                <a:lnTo>
                  <a:pt x="269" y="620"/>
                </a:lnTo>
                <a:lnTo>
                  <a:pt x="274" y="631"/>
                </a:lnTo>
                <a:lnTo>
                  <a:pt x="279" y="644"/>
                </a:lnTo>
                <a:lnTo>
                  <a:pt x="290" y="655"/>
                </a:lnTo>
                <a:lnTo>
                  <a:pt x="293" y="665"/>
                </a:lnTo>
                <a:lnTo>
                  <a:pt x="299" y="682"/>
                </a:lnTo>
                <a:lnTo>
                  <a:pt x="306" y="693"/>
                </a:lnTo>
                <a:lnTo>
                  <a:pt x="312" y="704"/>
                </a:lnTo>
                <a:lnTo>
                  <a:pt x="315" y="714"/>
                </a:lnTo>
                <a:lnTo>
                  <a:pt x="315" y="725"/>
                </a:lnTo>
                <a:lnTo>
                  <a:pt x="318" y="748"/>
                </a:lnTo>
                <a:lnTo>
                  <a:pt x="320" y="766"/>
                </a:lnTo>
                <a:lnTo>
                  <a:pt x="342" y="786"/>
                </a:lnTo>
                <a:lnTo>
                  <a:pt x="345" y="797"/>
                </a:lnTo>
                <a:lnTo>
                  <a:pt x="352" y="808"/>
                </a:lnTo>
                <a:lnTo>
                  <a:pt x="355" y="818"/>
                </a:lnTo>
                <a:lnTo>
                  <a:pt x="361" y="828"/>
                </a:lnTo>
                <a:lnTo>
                  <a:pt x="363" y="847"/>
                </a:lnTo>
                <a:lnTo>
                  <a:pt x="361" y="863"/>
                </a:lnTo>
                <a:lnTo>
                  <a:pt x="361" y="875"/>
                </a:lnTo>
                <a:lnTo>
                  <a:pt x="363" y="904"/>
                </a:lnTo>
                <a:lnTo>
                  <a:pt x="366" y="914"/>
                </a:lnTo>
                <a:lnTo>
                  <a:pt x="372" y="930"/>
                </a:lnTo>
                <a:lnTo>
                  <a:pt x="374" y="961"/>
                </a:lnTo>
                <a:lnTo>
                  <a:pt x="372" y="987"/>
                </a:lnTo>
                <a:lnTo>
                  <a:pt x="373" y="973"/>
                </a:lnTo>
                <a:lnTo>
                  <a:pt x="402" y="942"/>
                </a:lnTo>
                <a:lnTo>
                  <a:pt x="408" y="928"/>
                </a:lnTo>
                <a:lnTo>
                  <a:pt x="416" y="900"/>
                </a:lnTo>
                <a:lnTo>
                  <a:pt x="418" y="886"/>
                </a:lnTo>
                <a:lnTo>
                  <a:pt x="416" y="872"/>
                </a:lnTo>
                <a:lnTo>
                  <a:pt x="414" y="857"/>
                </a:lnTo>
                <a:lnTo>
                  <a:pt x="407" y="830"/>
                </a:lnTo>
                <a:lnTo>
                  <a:pt x="403" y="814"/>
                </a:lnTo>
                <a:lnTo>
                  <a:pt x="395" y="788"/>
                </a:lnTo>
                <a:lnTo>
                  <a:pt x="388" y="774"/>
                </a:lnTo>
                <a:lnTo>
                  <a:pt x="380" y="761"/>
                </a:lnTo>
                <a:lnTo>
                  <a:pt x="370" y="748"/>
                </a:lnTo>
                <a:lnTo>
                  <a:pt x="362" y="744"/>
                </a:lnTo>
                <a:lnTo>
                  <a:pt x="357" y="734"/>
                </a:lnTo>
                <a:lnTo>
                  <a:pt x="356" y="720"/>
                </a:lnTo>
                <a:lnTo>
                  <a:pt x="357" y="706"/>
                </a:lnTo>
                <a:lnTo>
                  <a:pt x="359" y="692"/>
                </a:lnTo>
                <a:lnTo>
                  <a:pt x="363" y="678"/>
                </a:lnTo>
                <a:lnTo>
                  <a:pt x="372" y="664"/>
                </a:lnTo>
                <a:lnTo>
                  <a:pt x="376" y="650"/>
                </a:lnTo>
                <a:lnTo>
                  <a:pt x="372" y="632"/>
                </a:lnTo>
                <a:lnTo>
                  <a:pt x="359" y="612"/>
                </a:lnTo>
                <a:lnTo>
                  <a:pt x="330" y="594"/>
                </a:lnTo>
                <a:lnTo>
                  <a:pt x="315" y="583"/>
                </a:lnTo>
                <a:lnTo>
                  <a:pt x="304" y="568"/>
                </a:lnTo>
                <a:lnTo>
                  <a:pt x="294" y="552"/>
                </a:lnTo>
                <a:lnTo>
                  <a:pt x="290" y="539"/>
                </a:lnTo>
                <a:lnTo>
                  <a:pt x="290" y="526"/>
                </a:lnTo>
                <a:lnTo>
                  <a:pt x="296" y="498"/>
                </a:lnTo>
                <a:lnTo>
                  <a:pt x="306" y="474"/>
                </a:lnTo>
                <a:lnTo>
                  <a:pt x="315" y="466"/>
                </a:lnTo>
                <a:lnTo>
                  <a:pt x="330" y="460"/>
                </a:lnTo>
                <a:lnTo>
                  <a:pt x="359" y="457"/>
                </a:lnTo>
                <a:lnTo>
                  <a:pt x="369" y="452"/>
                </a:lnTo>
                <a:lnTo>
                  <a:pt x="379" y="447"/>
                </a:lnTo>
                <a:lnTo>
                  <a:pt x="386" y="440"/>
                </a:lnTo>
                <a:lnTo>
                  <a:pt x="392" y="432"/>
                </a:lnTo>
                <a:lnTo>
                  <a:pt x="402" y="426"/>
                </a:lnTo>
                <a:lnTo>
                  <a:pt x="431" y="416"/>
                </a:lnTo>
                <a:lnTo>
                  <a:pt x="448" y="404"/>
                </a:lnTo>
                <a:lnTo>
                  <a:pt x="454" y="396"/>
                </a:lnTo>
                <a:lnTo>
                  <a:pt x="457" y="385"/>
                </a:lnTo>
                <a:lnTo>
                  <a:pt x="459" y="382"/>
                </a:lnTo>
                <a:lnTo>
                  <a:pt x="459" y="372"/>
                </a:lnTo>
                <a:lnTo>
                  <a:pt x="459" y="374"/>
                </a:lnTo>
                <a:lnTo>
                  <a:pt x="456" y="360"/>
                </a:lnTo>
                <a:lnTo>
                  <a:pt x="446" y="352"/>
                </a:lnTo>
                <a:lnTo>
                  <a:pt x="431" y="349"/>
                </a:lnTo>
                <a:lnTo>
                  <a:pt x="416" y="346"/>
                </a:lnTo>
                <a:lnTo>
                  <a:pt x="402" y="342"/>
                </a:lnTo>
                <a:lnTo>
                  <a:pt x="387" y="332"/>
                </a:lnTo>
                <a:lnTo>
                  <a:pt x="386" y="325"/>
                </a:lnTo>
                <a:lnTo>
                  <a:pt x="387" y="318"/>
                </a:lnTo>
                <a:lnTo>
                  <a:pt x="392" y="307"/>
                </a:lnTo>
                <a:lnTo>
                  <a:pt x="393" y="297"/>
                </a:lnTo>
                <a:lnTo>
                  <a:pt x="392" y="291"/>
                </a:lnTo>
                <a:lnTo>
                  <a:pt x="382" y="294"/>
                </a:lnTo>
                <a:lnTo>
                  <a:pt x="374" y="294"/>
                </a:lnTo>
                <a:lnTo>
                  <a:pt x="372" y="287"/>
                </a:lnTo>
                <a:lnTo>
                  <a:pt x="377" y="275"/>
                </a:lnTo>
                <a:lnTo>
                  <a:pt x="367" y="270"/>
                </a:lnTo>
                <a:lnTo>
                  <a:pt x="355" y="268"/>
                </a:lnTo>
                <a:lnTo>
                  <a:pt x="349" y="258"/>
                </a:lnTo>
                <a:lnTo>
                  <a:pt x="342" y="246"/>
                </a:lnTo>
                <a:lnTo>
                  <a:pt x="331" y="245"/>
                </a:lnTo>
                <a:lnTo>
                  <a:pt x="315" y="250"/>
                </a:lnTo>
                <a:lnTo>
                  <a:pt x="301" y="254"/>
                </a:lnTo>
                <a:lnTo>
                  <a:pt x="295" y="258"/>
                </a:lnTo>
                <a:lnTo>
                  <a:pt x="281" y="266"/>
                </a:lnTo>
                <a:lnTo>
                  <a:pt x="279" y="258"/>
                </a:lnTo>
                <a:lnTo>
                  <a:pt x="281" y="252"/>
                </a:lnTo>
                <a:lnTo>
                  <a:pt x="286" y="244"/>
                </a:lnTo>
                <a:lnTo>
                  <a:pt x="292" y="239"/>
                </a:lnTo>
                <a:lnTo>
                  <a:pt x="306" y="232"/>
                </a:lnTo>
                <a:lnTo>
                  <a:pt x="296" y="221"/>
                </a:lnTo>
                <a:lnTo>
                  <a:pt x="286" y="216"/>
                </a:lnTo>
                <a:lnTo>
                  <a:pt x="279" y="209"/>
                </a:lnTo>
                <a:lnTo>
                  <a:pt x="268" y="201"/>
                </a:lnTo>
                <a:lnTo>
                  <a:pt x="265" y="193"/>
                </a:lnTo>
                <a:lnTo>
                  <a:pt x="268" y="188"/>
                </a:lnTo>
                <a:lnTo>
                  <a:pt x="279" y="184"/>
                </a:lnTo>
                <a:lnTo>
                  <a:pt x="290" y="179"/>
                </a:lnTo>
                <a:lnTo>
                  <a:pt x="300" y="167"/>
                </a:lnTo>
                <a:lnTo>
                  <a:pt x="313" y="152"/>
                </a:lnTo>
                <a:lnTo>
                  <a:pt x="326" y="138"/>
                </a:lnTo>
                <a:lnTo>
                  <a:pt x="336" y="124"/>
                </a:lnTo>
                <a:lnTo>
                  <a:pt x="344" y="111"/>
                </a:lnTo>
                <a:lnTo>
                  <a:pt x="349" y="96"/>
                </a:lnTo>
                <a:lnTo>
                  <a:pt x="351" y="61"/>
                </a:lnTo>
                <a:lnTo>
                  <a:pt x="348" y="46"/>
                </a:lnTo>
                <a:lnTo>
                  <a:pt x="344" y="42"/>
                </a:lnTo>
                <a:lnTo>
                  <a:pt x="331" y="30"/>
                </a:lnTo>
                <a:lnTo>
                  <a:pt x="317" y="40"/>
                </a:lnTo>
                <a:lnTo>
                  <a:pt x="313" y="30"/>
                </a:lnTo>
                <a:lnTo>
                  <a:pt x="301" y="25"/>
                </a:lnTo>
                <a:lnTo>
                  <a:pt x="283" y="13"/>
                </a:lnTo>
                <a:lnTo>
                  <a:pt x="258" y="3"/>
                </a:lnTo>
                <a:lnTo>
                  <a:pt x="229" y="0"/>
                </a:lnTo>
                <a:lnTo>
                  <a:pt x="241" y="13"/>
                </a:lnTo>
                <a:lnTo>
                  <a:pt x="245" y="27"/>
                </a:lnTo>
                <a:lnTo>
                  <a:pt x="245" y="41"/>
                </a:lnTo>
                <a:lnTo>
                  <a:pt x="241" y="52"/>
                </a:lnTo>
                <a:lnTo>
                  <a:pt x="229" y="56"/>
                </a:lnTo>
                <a:lnTo>
                  <a:pt x="211" y="67"/>
                </a:lnTo>
                <a:lnTo>
                  <a:pt x="197" y="82"/>
                </a:lnTo>
                <a:lnTo>
                  <a:pt x="189" y="97"/>
                </a:lnTo>
                <a:lnTo>
                  <a:pt x="182" y="111"/>
                </a:lnTo>
                <a:lnTo>
                  <a:pt x="172" y="119"/>
                </a:lnTo>
                <a:lnTo>
                  <a:pt x="160" y="126"/>
                </a:lnTo>
                <a:lnTo>
                  <a:pt x="153" y="138"/>
                </a:lnTo>
                <a:lnTo>
                  <a:pt x="143" y="167"/>
                </a:lnTo>
                <a:lnTo>
                  <a:pt x="131" y="194"/>
                </a:lnTo>
                <a:lnTo>
                  <a:pt x="128" y="222"/>
                </a:lnTo>
                <a:lnTo>
                  <a:pt x="126" y="235"/>
                </a:lnTo>
                <a:lnTo>
                  <a:pt x="112" y="247"/>
                </a:lnTo>
                <a:lnTo>
                  <a:pt x="89" y="253"/>
                </a:lnTo>
                <a:lnTo>
                  <a:pt x="73" y="266"/>
                </a:lnTo>
                <a:lnTo>
                  <a:pt x="69" y="277"/>
                </a:lnTo>
                <a:lnTo>
                  <a:pt x="71" y="291"/>
                </a:lnTo>
                <a:lnTo>
                  <a:pt x="69" y="305"/>
                </a:lnTo>
                <a:lnTo>
                  <a:pt x="58" y="318"/>
                </a:lnTo>
                <a:lnTo>
                  <a:pt x="39" y="329"/>
                </a:lnTo>
                <a:lnTo>
                  <a:pt x="27" y="332"/>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28" name="Freeform 28">
            <a:extLst>
              <a:ext uri="{FF2B5EF4-FFF2-40B4-BE49-F238E27FC236}">
                <a16:creationId xmlns:a16="http://schemas.microsoft.com/office/drawing/2014/main" id="{6EFA05A9-99F3-483B-9C99-982BAF5555DB}"/>
              </a:ext>
            </a:extLst>
          </p:cNvPr>
          <p:cNvSpPr>
            <a:spLocks/>
          </p:cNvSpPr>
          <p:nvPr>
            <p:custDataLst>
              <p:tags r:id="rId21"/>
            </p:custDataLst>
          </p:nvPr>
        </p:nvSpPr>
        <p:spPr bwMode="auto">
          <a:xfrm rot="120000">
            <a:off x="7458020" y="3115402"/>
            <a:ext cx="382577" cy="476236"/>
          </a:xfrm>
          <a:custGeom>
            <a:avLst/>
            <a:gdLst>
              <a:gd name="T0" fmla="*/ 38 w 234"/>
              <a:gd name="T1" fmla="*/ 247 h 293"/>
              <a:gd name="T2" fmla="*/ 65 w 234"/>
              <a:gd name="T3" fmla="*/ 254 h 293"/>
              <a:gd name="T4" fmla="*/ 91 w 234"/>
              <a:gd name="T5" fmla="*/ 259 h 293"/>
              <a:gd name="T6" fmla="*/ 103 w 234"/>
              <a:gd name="T7" fmla="*/ 238 h 293"/>
              <a:gd name="T8" fmla="*/ 109 w 234"/>
              <a:gd name="T9" fmla="*/ 220 h 293"/>
              <a:gd name="T10" fmla="*/ 116 w 234"/>
              <a:gd name="T11" fmla="*/ 215 h 293"/>
              <a:gd name="T12" fmla="*/ 130 w 234"/>
              <a:gd name="T13" fmla="*/ 225 h 293"/>
              <a:gd name="T14" fmla="*/ 141 w 234"/>
              <a:gd name="T15" fmla="*/ 212 h 293"/>
              <a:gd name="T16" fmla="*/ 153 w 234"/>
              <a:gd name="T17" fmla="*/ 220 h 293"/>
              <a:gd name="T18" fmla="*/ 166 w 234"/>
              <a:gd name="T19" fmla="*/ 240 h 293"/>
              <a:gd name="T20" fmla="*/ 171 w 234"/>
              <a:gd name="T21" fmla="*/ 275 h 293"/>
              <a:gd name="T22" fmla="*/ 190 w 234"/>
              <a:gd name="T23" fmla="*/ 293 h 293"/>
              <a:gd name="T24" fmla="*/ 203 w 234"/>
              <a:gd name="T25" fmla="*/ 276 h 293"/>
              <a:gd name="T26" fmla="*/ 234 w 234"/>
              <a:gd name="T27" fmla="*/ 273 h 293"/>
              <a:gd name="T28" fmla="*/ 225 w 234"/>
              <a:gd name="T29" fmla="*/ 243 h 293"/>
              <a:gd name="T30" fmla="*/ 217 w 234"/>
              <a:gd name="T31" fmla="*/ 207 h 293"/>
              <a:gd name="T32" fmla="*/ 216 w 234"/>
              <a:gd name="T33" fmla="*/ 180 h 293"/>
              <a:gd name="T34" fmla="*/ 217 w 234"/>
              <a:gd name="T35" fmla="*/ 138 h 293"/>
              <a:gd name="T36" fmla="*/ 203 w 234"/>
              <a:gd name="T37" fmla="*/ 137 h 293"/>
              <a:gd name="T38" fmla="*/ 188 w 234"/>
              <a:gd name="T39" fmla="*/ 165 h 293"/>
              <a:gd name="T40" fmla="*/ 172 w 234"/>
              <a:gd name="T41" fmla="*/ 164 h 293"/>
              <a:gd name="T42" fmla="*/ 144 w 234"/>
              <a:gd name="T43" fmla="*/ 165 h 293"/>
              <a:gd name="T44" fmla="*/ 148 w 234"/>
              <a:gd name="T45" fmla="*/ 137 h 293"/>
              <a:gd name="T46" fmla="*/ 169 w 234"/>
              <a:gd name="T47" fmla="*/ 114 h 293"/>
              <a:gd name="T48" fmla="*/ 217 w 234"/>
              <a:gd name="T49" fmla="*/ 110 h 293"/>
              <a:gd name="T50" fmla="*/ 234 w 234"/>
              <a:gd name="T51" fmla="*/ 92 h 293"/>
              <a:gd name="T52" fmla="*/ 217 w 234"/>
              <a:gd name="T53" fmla="*/ 69 h 293"/>
              <a:gd name="T54" fmla="*/ 173 w 234"/>
              <a:gd name="T55" fmla="*/ 69 h 293"/>
              <a:gd name="T56" fmla="*/ 98 w 234"/>
              <a:gd name="T57" fmla="*/ 57 h 293"/>
              <a:gd name="T58" fmla="*/ 85 w 234"/>
              <a:gd name="T59" fmla="*/ 26 h 293"/>
              <a:gd name="T60" fmla="*/ 58 w 234"/>
              <a:gd name="T61" fmla="*/ 13 h 293"/>
              <a:gd name="T62" fmla="*/ 38 w 234"/>
              <a:gd name="T63" fmla="*/ 13 h 293"/>
              <a:gd name="T64" fmla="*/ 18 w 234"/>
              <a:gd name="T65" fmla="*/ 16 h 293"/>
              <a:gd name="T66" fmla="*/ 11 w 234"/>
              <a:gd name="T67" fmla="*/ 34 h 293"/>
              <a:gd name="T68" fmla="*/ 29 w 234"/>
              <a:gd name="T69" fmla="*/ 55 h 293"/>
              <a:gd name="T70" fmla="*/ 23 w 234"/>
              <a:gd name="T71" fmla="*/ 78 h 293"/>
              <a:gd name="T72" fmla="*/ 12 w 234"/>
              <a:gd name="T73" fmla="*/ 96 h 293"/>
              <a:gd name="T74" fmla="*/ 20 w 234"/>
              <a:gd name="T75" fmla="*/ 123 h 293"/>
              <a:gd name="T76" fmla="*/ 29 w 234"/>
              <a:gd name="T77" fmla="*/ 151 h 293"/>
              <a:gd name="T78" fmla="*/ 33 w 234"/>
              <a:gd name="T79" fmla="*/ 176 h 293"/>
              <a:gd name="T80" fmla="*/ 41 w 234"/>
              <a:gd name="T81" fmla="*/ 234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4" h="293">
                <a:moveTo>
                  <a:pt x="30" y="240"/>
                </a:moveTo>
                <a:lnTo>
                  <a:pt x="38" y="247"/>
                </a:lnTo>
                <a:lnTo>
                  <a:pt x="54" y="256"/>
                </a:lnTo>
                <a:lnTo>
                  <a:pt x="65" y="254"/>
                </a:lnTo>
                <a:lnTo>
                  <a:pt x="79" y="256"/>
                </a:lnTo>
                <a:lnTo>
                  <a:pt x="91" y="259"/>
                </a:lnTo>
                <a:lnTo>
                  <a:pt x="92" y="256"/>
                </a:lnTo>
                <a:lnTo>
                  <a:pt x="103" y="238"/>
                </a:lnTo>
                <a:lnTo>
                  <a:pt x="109" y="230"/>
                </a:lnTo>
                <a:lnTo>
                  <a:pt x="109" y="220"/>
                </a:lnTo>
                <a:lnTo>
                  <a:pt x="114" y="215"/>
                </a:lnTo>
                <a:lnTo>
                  <a:pt x="116" y="215"/>
                </a:lnTo>
                <a:lnTo>
                  <a:pt x="122" y="220"/>
                </a:lnTo>
                <a:lnTo>
                  <a:pt x="130" y="225"/>
                </a:lnTo>
                <a:lnTo>
                  <a:pt x="139" y="217"/>
                </a:lnTo>
                <a:lnTo>
                  <a:pt x="141" y="212"/>
                </a:lnTo>
                <a:lnTo>
                  <a:pt x="147" y="215"/>
                </a:lnTo>
                <a:lnTo>
                  <a:pt x="153" y="220"/>
                </a:lnTo>
                <a:lnTo>
                  <a:pt x="160" y="230"/>
                </a:lnTo>
                <a:lnTo>
                  <a:pt x="166" y="240"/>
                </a:lnTo>
                <a:lnTo>
                  <a:pt x="166" y="261"/>
                </a:lnTo>
                <a:lnTo>
                  <a:pt x="171" y="275"/>
                </a:lnTo>
                <a:lnTo>
                  <a:pt x="180" y="285"/>
                </a:lnTo>
                <a:lnTo>
                  <a:pt x="190" y="293"/>
                </a:lnTo>
                <a:lnTo>
                  <a:pt x="191" y="292"/>
                </a:lnTo>
                <a:lnTo>
                  <a:pt x="203" y="276"/>
                </a:lnTo>
                <a:lnTo>
                  <a:pt x="212" y="262"/>
                </a:lnTo>
                <a:lnTo>
                  <a:pt x="234" y="273"/>
                </a:lnTo>
                <a:lnTo>
                  <a:pt x="230" y="258"/>
                </a:lnTo>
                <a:lnTo>
                  <a:pt x="225" y="243"/>
                </a:lnTo>
                <a:lnTo>
                  <a:pt x="222" y="229"/>
                </a:lnTo>
                <a:lnTo>
                  <a:pt x="217" y="207"/>
                </a:lnTo>
                <a:lnTo>
                  <a:pt x="217" y="193"/>
                </a:lnTo>
                <a:lnTo>
                  <a:pt x="216" y="180"/>
                </a:lnTo>
                <a:lnTo>
                  <a:pt x="214" y="165"/>
                </a:lnTo>
                <a:lnTo>
                  <a:pt x="217" y="138"/>
                </a:lnTo>
                <a:lnTo>
                  <a:pt x="210" y="146"/>
                </a:lnTo>
                <a:lnTo>
                  <a:pt x="203" y="137"/>
                </a:lnTo>
                <a:lnTo>
                  <a:pt x="196" y="160"/>
                </a:lnTo>
                <a:lnTo>
                  <a:pt x="188" y="165"/>
                </a:lnTo>
                <a:lnTo>
                  <a:pt x="188" y="153"/>
                </a:lnTo>
                <a:lnTo>
                  <a:pt x="172" y="164"/>
                </a:lnTo>
                <a:lnTo>
                  <a:pt x="159" y="165"/>
                </a:lnTo>
                <a:lnTo>
                  <a:pt x="144" y="165"/>
                </a:lnTo>
                <a:lnTo>
                  <a:pt x="144" y="153"/>
                </a:lnTo>
                <a:lnTo>
                  <a:pt x="148" y="137"/>
                </a:lnTo>
                <a:lnTo>
                  <a:pt x="156" y="123"/>
                </a:lnTo>
                <a:lnTo>
                  <a:pt x="169" y="114"/>
                </a:lnTo>
                <a:lnTo>
                  <a:pt x="188" y="110"/>
                </a:lnTo>
                <a:lnTo>
                  <a:pt x="217" y="110"/>
                </a:lnTo>
                <a:lnTo>
                  <a:pt x="228" y="107"/>
                </a:lnTo>
                <a:lnTo>
                  <a:pt x="234" y="92"/>
                </a:lnTo>
                <a:lnTo>
                  <a:pt x="227" y="76"/>
                </a:lnTo>
                <a:lnTo>
                  <a:pt x="217" y="69"/>
                </a:lnTo>
                <a:lnTo>
                  <a:pt x="202" y="69"/>
                </a:lnTo>
                <a:lnTo>
                  <a:pt x="173" y="69"/>
                </a:lnTo>
                <a:lnTo>
                  <a:pt x="116" y="66"/>
                </a:lnTo>
                <a:lnTo>
                  <a:pt x="98" y="57"/>
                </a:lnTo>
                <a:lnTo>
                  <a:pt x="91" y="42"/>
                </a:lnTo>
                <a:lnTo>
                  <a:pt x="85" y="26"/>
                </a:lnTo>
                <a:lnTo>
                  <a:pt x="80" y="6"/>
                </a:lnTo>
                <a:lnTo>
                  <a:pt x="58" y="13"/>
                </a:lnTo>
                <a:lnTo>
                  <a:pt x="43" y="0"/>
                </a:lnTo>
                <a:lnTo>
                  <a:pt x="38" y="13"/>
                </a:lnTo>
                <a:lnTo>
                  <a:pt x="29" y="0"/>
                </a:lnTo>
                <a:lnTo>
                  <a:pt x="18" y="16"/>
                </a:lnTo>
                <a:lnTo>
                  <a:pt x="0" y="27"/>
                </a:lnTo>
                <a:lnTo>
                  <a:pt x="11" y="34"/>
                </a:lnTo>
                <a:lnTo>
                  <a:pt x="24" y="46"/>
                </a:lnTo>
                <a:lnTo>
                  <a:pt x="29" y="55"/>
                </a:lnTo>
                <a:lnTo>
                  <a:pt x="34" y="71"/>
                </a:lnTo>
                <a:lnTo>
                  <a:pt x="23" y="78"/>
                </a:lnTo>
                <a:lnTo>
                  <a:pt x="17" y="84"/>
                </a:lnTo>
                <a:lnTo>
                  <a:pt x="12" y="96"/>
                </a:lnTo>
                <a:lnTo>
                  <a:pt x="15" y="110"/>
                </a:lnTo>
                <a:lnTo>
                  <a:pt x="20" y="123"/>
                </a:lnTo>
                <a:lnTo>
                  <a:pt x="24" y="139"/>
                </a:lnTo>
                <a:lnTo>
                  <a:pt x="29" y="151"/>
                </a:lnTo>
                <a:lnTo>
                  <a:pt x="32" y="165"/>
                </a:lnTo>
                <a:lnTo>
                  <a:pt x="33" y="176"/>
                </a:lnTo>
                <a:lnTo>
                  <a:pt x="38" y="193"/>
                </a:lnTo>
                <a:lnTo>
                  <a:pt x="41" y="234"/>
                </a:lnTo>
                <a:lnTo>
                  <a:pt x="30" y="24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29" name="Freeform 29">
            <a:extLst>
              <a:ext uri="{FF2B5EF4-FFF2-40B4-BE49-F238E27FC236}">
                <a16:creationId xmlns:a16="http://schemas.microsoft.com/office/drawing/2014/main" id="{5FA88028-0D84-4408-9A29-0DFCF5F9CB04}"/>
              </a:ext>
            </a:extLst>
          </p:cNvPr>
          <p:cNvSpPr>
            <a:spLocks/>
          </p:cNvSpPr>
          <p:nvPr>
            <p:custDataLst>
              <p:tags r:id="rId22"/>
            </p:custDataLst>
          </p:nvPr>
        </p:nvSpPr>
        <p:spPr bwMode="auto">
          <a:xfrm rot="120000">
            <a:off x="5888029" y="2178804"/>
            <a:ext cx="2277996" cy="2444679"/>
          </a:xfrm>
          <a:custGeom>
            <a:avLst/>
            <a:gdLst>
              <a:gd name="T0" fmla="*/ 900 w 1399"/>
              <a:gd name="T1" fmla="*/ 820 h 1504"/>
              <a:gd name="T2" fmla="*/ 957 w 1399"/>
              <a:gd name="T3" fmla="*/ 810 h 1504"/>
              <a:gd name="T4" fmla="*/ 997 w 1399"/>
              <a:gd name="T5" fmla="*/ 740 h 1504"/>
              <a:gd name="T6" fmla="*/ 981 w 1399"/>
              <a:gd name="T7" fmla="*/ 648 h 1504"/>
              <a:gd name="T8" fmla="*/ 982 w 1399"/>
              <a:gd name="T9" fmla="*/ 580 h 1504"/>
              <a:gd name="T10" fmla="*/ 1054 w 1399"/>
              <a:gd name="T11" fmla="*/ 606 h 1504"/>
              <a:gd name="T12" fmla="*/ 1197 w 1399"/>
              <a:gd name="T13" fmla="*/ 657 h 1504"/>
              <a:gd name="T14" fmla="*/ 1108 w 1399"/>
              <a:gd name="T15" fmla="*/ 716 h 1504"/>
              <a:gd name="T16" fmla="*/ 1166 w 1399"/>
              <a:gd name="T17" fmla="*/ 701 h 1504"/>
              <a:gd name="T18" fmla="*/ 1192 w 1399"/>
              <a:gd name="T19" fmla="*/ 768 h 1504"/>
              <a:gd name="T20" fmla="*/ 1265 w 1399"/>
              <a:gd name="T21" fmla="*/ 686 h 1504"/>
              <a:gd name="T22" fmla="*/ 1325 w 1399"/>
              <a:gd name="T23" fmla="*/ 558 h 1504"/>
              <a:gd name="T24" fmla="*/ 1398 w 1399"/>
              <a:gd name="T25" fmla="*/ 480 h 1504"/>
              <a:gd name="T26" fmla="*/ 1357 w 1399"/>
              <a:gd name="T27" fmla="*/ 402 h 1504"/>
              <a:gd name="T28" fmla="*/ 1267 w 1399"/>
              <a:gd name="T29" fmla="*/ 426 h 1504"/>
              <a:gd name="T30" fmla="*/ 1138 w 1399"/>
              <a:gd name="T31" fmla="*/ 481 h 1504"/>
              <a:gd name="T32" fmla="*/ 1095 w 1399"/>
              <a:gd name="T33" fmla="*/ 547 h 1504"/>
              <a:gd name="T34" fmla="*/ 989 w 1399"/>
              <a:gd name="T35" fmla="*/ 504 h 1504"/>
              <a:gd name="T36" fmla="*/ 964 w 1399"/>
              <a:gd name="T37" fmla="*/ 495 h 1504"/>
              <a:gd name="T38" fmla="*/ 935 w 1399"/>
              <a:gd name="T39" fmla="*/ 552 h 1504"/>
              <a:gd name="T40" fmla="*/ 810 w 1399"/>
              <a:gd name="T41" fmla="*/ 522 h 1504"/>
              <a:gd name="T42" fmla="*/ 688 w 1399"/>
              <a:gd name="T43" fmla="*/ 475 h 1504"/>
              <a:gd name="T44" fmla="*/ 576 w 1399"/>
              <a:gd name="T45" fmla="*/ 404 h 1504"/>
              <a:gd name="T46" fmla="*/ 571 w 1399"/>
              <a:gd name="T47" fmla="*/ 350 h 1504"/>
              <a:gd name="T48" fmla="*/ 533 w 1399"/>
              <a:gd name="T49" fmla="*/ 279 h 1504"/>
              <a:gd name="T50" fmla="*/ 478 w 1399"/>
              <a:gd name="T51" fmla="*/ 192 h 1504"/>
              <a:gd name="T52" fmla="*/ 531 w 1399"/>
              <a:gd name="T53" fmla="*/ 162 h 1504"/>
              <a:gd name="T54" fmla="*/ 469 w 1399"/>
              <a:gd name="T55" fmla="*/ 45 h 1504"/>
              <a:gd name="T56" fmla="*/ 396 w 1399"/>
              <a:gd name="T57" fmla="*/ 40 h 1504"/>
              <a:gd name="T58" fmla="*/ 297 w 1399"/>
              <a:gd name="T59" fmla="*/ 69 h 1504"/>
              <a:gd name="T60" fmla="*/ 340 w 1399"/>
              <a:gd name="T61" fmla="*/ 162 h 1504"/>
              <a:gd name="T62" fmla="*/ 293 w 1399"/>
              <a:gd name="T63" fmla="*/ 207 h 1504"/>
              <a:gd name="T64" fmla="*/ 304 w 1399"/>
              <a:gd name="T65" fmla="*/ 285 h 1504"/>
              <a:gd name="T66" fmla="*/ 223 w 1399"/>
              <a:gd name="T67" fmla="*/ 354 h 1504"/>
              <a:gd name="T68" fmla="*/ 104 w 1399"/>
              <a:gd name="T69" fmla="*/ 436 h 1504"/>
              <a:gd name="T70" fmla="*/ 17 w 1399"/>
              <a:gd name="T71" fmla="*/ 461 h 1504"/>
              <a:gd name="T72" fmla="*/ 58 w 1399"/>
              <a:gd name="T73" fmla="*/ 506 h 1504"/>
              <a:gd name="T74" fmla="*/ 40 w 1399"/>
              <a:gd name="T75" fmla="*/ 539 h 1504"/>
              <a:gd name="T76" fmla="*/ 45 w 1399"/>
              <a:gd name="T77" fmla="*/ 581 h 1504"/>
              <a:gd name="T78" fmla="*/ 9 w 1399"/>
              <a:gd name="T79" fmla="*/ 618 h 1504"/>
              <a:gd name="T80" fmla="*/ 53 w 1399"/>
              <a:gd name="T81" fmla="*/ 693 h 1504"/>
              <a:gd name="T82" fmla="*/ 126 w 1399"/>
              <a:gd name="T83" fmla="*/ 669 h 1504"/>
              <a:gd name="T84" fmla="*/ 102 w 1399"/>
              <a:gd name="T85" fmla="*/ 753 h 1504"/>
              <a:gd name="T86" fmla="*/ 97 w 1399"/>
              <a:gd name="T87" fmla="*/ 885 h 1504"/>
              <a:gd name="T88" fmla="*/ 107 w 1399"/>
              <a:gd name="T89" fmla="*/ 987 h 1504"/>
              <a:gd name="T90" fmla="*/ 167 w 1399"/>
              <a:gd name="T91" fmla="*/ 1187 h 1504"/>
              <a:gd name="T92" fmla="*/ 191 w 1399"/>
              <a:gd name="T93" fmla="*/ 1293 h 1504"/>
              <a:gd name="T94" fmla="*/ 245 w 1399"/>
              <a:gd name="T95" fmla="*/ 1358 h 1504"/>
              <a:gd name="T96" fmla="*/ 270 w 1399"/>
              <a:gd name="T97" fmla="*/ 1465 h 1504"/>
              <a:gd name="T98" fmla="*/ 356 w 1399"/>
              <a:gd name="T99" fmla="*/ 1477 h 1504"/>
              <a:gd name="T100" fmla="*/ 416 w 1399"/>
              <a:gd name="T101" fmla="*/ 1418 h 1504"/>
              <a:gd name="T102" fmla="*/ 462 w 1399"/>
              <a:gd name="T103" fmla="*/ 1309 h 1504"/>
              <a:gd name="T104" fmla="*/ 488 w 1399"/>
              <a:gd name="T105" fmla="*/ 1205 h 1504"/>
              <a:gd name="T106" fmla="*/ 548 w 1399"/>
              <a:gd name="T107" fmla="*/ 1106 h 1504"/>
              <a:gd name="T108" fmla="*/ 645 w 1399"/>
              <a:gd name="T109" fmla="*/ 1026 h 1504"/>
              <a:gd name="T110" fmla="*/ 721 w 1399"/>
              <a:gd name="T111" fmla="*/ 979 h 1504"/>
              <a:gd name="T112" fmla="*/ 781 w 1399"/>
              <a:gd name="T113" fmla="*/ 914 h 1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99" h="1504">
                <a:moveTo>
                  <a:pt x="829" y="911"/>
                </a:moveTo>
                <a:lnTo>
                  <a:pt x="850" y="896"/>
                </a:lnTo>
                <a:lnTo>
                  <a:pt x="870" y="880"/>
                </a:lnTo>
                <a:lnTo>
                  <a:pt x="873" y="869"/>
                </a:lnTo>
                <a:lnTo>
                  <a:pt x="878" y="836"/>
                </a:lnTo>
                <a:lnTo>
                  <a:pt x="888" y="825"/>
                </a:lnTo>
                <a:lnTo>
                  <a:pt x="900" y="820"/>
                </a:lnTo>
                <a:lnTo>
                  <a:pt x="911" y="818"/>
                </a:lnTo>
                <a:lnTo>
                  <a:pt x="924" y="804"/>
                </a:lnTo>
                <a:lnTo>
                  <a:pt x="937" y="786"/>
                </a:lnTo>
                <a:lnTo>
                  <a:pt x="940" y="789"/>
                </a:lnTo>
                <a:lnTo>
                  <a:pt x="943" y="802"/>
                </a:lnTo>
                <a:lnTo>
                  <a:pt x="948" y="810"/>
                </a:lnTo>
                <a:lnTo>
                  <a:pt x="957" y="810"/>
                </a:lnTo>
                <a:lnTo>
                  <a:pt x="967" y="802"/>
                </a:lnTo>
                <a:lnTo>
                  <a:pt x="970" y="797"/>
                </a:lnTo>
                <a:lnTo>
                  <a:pt x="981" y="804"/>
                </a:lnTo>
                <a:lnTo>
                  <a:pt x="994" y="804"/>
                </a:lnTo>
                <a:lnTo>
                  <a:pt x="1005" y="798"/>
                </a:lnTo>
                <a:lnTo>
                  <a:pt x="1002" y="757"/>
                </a:lnTo>
                <a:lnTo>
                  <a:pt x="997" y="740"/>
                </a:lnTo>
                <a:lnTo>
                  <a:pt x="996" y="730"/>
                </a:lnTo>
                <a:lnTo>
                  <a:pt x="993" y="715"/>
                </a:lnTo>
                <a:lnTo>
                  <a:pt x="989" y="703"/>
                </a:lnTo>
                <a:lnTo>
                  <a:pt x="984" y="687"/>
                </a:lnTo>
                <a:lnTo>
                  <a:pt x="980" y="674"/>
                </a:lnTo>
                <a:lnTo>
                  <a:pt x="977" y="660"/>
                </a:lnTo>
                <a:lnTo>
                  <a:pt x="981" y="648"/>
                </a:lnTo>
                <a:lnTo>
                  <a:pt x="988" y="642"/>
                </a:lnTo>
                <a:lnTo>
                  <a:pt x="999" y="635"/>
                </a:lnTo>
                <a:lnTo>
                  <a:pt x="993" y="619"/>
                </a:lnTo>
                <a:lnTo>
                  <a:pt x="989" y="610"/>
                </a:lnTo>
                <a:lnTo>
                  <a:pt x="976" y="598"/>
                </a:lnTo>
                <a:lnTo>
                  <a:pt x="964" y="591"/>
                </a:lnTo>
                <a:lnTo>
                  <a:pt x="982" y="580"/>
                </a:lnTo>
                <a:lnTo>
                  <a:pt x="993" y="564"/>
                </a:lnTo>
                <a:lnTo>
                  <a:pt x="1002" y="577"/>
                </a:lnTo>
                <a:lnTo>
                  <a:pt x="1007" y="564"/>
                </a:lnTo>
                <a:lnTo>
                  <a:pt x="1022" y="577"/>
                </a:lnTo>
                <a:lnTo>
                  <a:pt x="1044" y="570"/>
                </a:lnTo>
                <a:lnTo>
                  <a:pt x="1050" y="590"/>
                </a:lnTo>
                <a:lnTo>
                  <a:pt x="1054" y="606"/>
                </a:lnTo>
                <a:lnTo>
                  <a:pt x="1063" y="621"/>
                </a:lnTo>
                <a:lnTo>
                  <a:pt x="1080" y="630"/>
                </a:lnTo>
                <a:lnTo>
                  <a:pt x="1138" y="633"/>
                </a:lnTo>
                <a:lnTo>
                  <a:pt x="1166" y="633"/>
                </a:lnTo>
                <a:lnTo>
                  <a:pt x="1181" y="633"/>
                </a:lnTo>
                <a:lnTo>
                  <a:pt x="1191" y="640"/>
                </a:lnTo>
                <a:lnTo>
                  <a:pt x="1197" y="657"/>
                </a:lnTo>
                <a:lnTo>
                  <a:pt x="1192" y="671"/>
                </a:lnTo>
                <a:lnTo>
                  <a:pt x="1181" y="674"/>
                </a:lnTo>
                <a:lnTo>
                  <a:pt x="1152" y="674"/>
                </a:lnTo>
                <a:lnTo>
                  <a:pt x="1133" y="678"/>
                </a:lnTo>
                <a:lnTo>
                  <a:pt x="1120" y="687"/>
                </a:lnTo>
                <a:lnTo>
                  <a:pt x="1112" y="701"/>
                </a:lnTo>
                <a:lnTo>
                  <a:pt x="1108" y="716"/>
                </a:lnTo>
                <a:lnTo>
                  <a:pt x="1108" y="730"/>
                </a:lnTo>
                <a:lnTo>
                  <a:pt x="1123" y="730"/>
                </a:lnTo>
                <a:lnTo>
                  <a:pt x="1136" y="727"/>
                </a:lnTo>
                <a:lnTo>
                  <a:pt x="1152" y="716"/>
                </a:lnTo>
                <a:lnTo>
                  <a:pt x="1152" y="730"/>
                </a:lnTo>
                <a:lnTo>
                  <a:pt x="1160" y="723"/>
                </a:lnTo>
                <a:lnTo>
                  <a:pt x="1166" y="701"/>
                </a:lnTo>
                <a:lnTo>
                  <a:pt x="1173" y="710"/>
                </a:lnTo>
                <a:lnTo>
                  <a:pt x="1181" y="702"/>
                </a:lnTo>
                <a:lnTo>
                  <a:pt x="1178" y="730"/>
                </a:lnTo>
                <a:lnTo>
                  <a:pt x="1180" y="744"/>
                </a:lnTo>
                <a:lnTo>
                  <a:pt x="1181" y="757"/>
                </a:lnTo>
                <a:lnTo>
                  <a:pt x="1181" y="771"/>
                </a:lnTo>
                <a:lnTo>
                  <a:pt x="1192" y="768"/>
                </a:lnTo>
                <a:lnTo>
                  <a:pt x="1211" y="757"/>
                </a:lnTo>
                <a:lnTo>
                  <a:pt x="1222" y="744"/>
                </a:lnTo>
                <a:lnTo>
                  <a:pt x="1224" y="730"/>
                </a:lnTo>
                <a:lnTo>
                  <a:pt x="1223" y="716"/>
                </a:lnTo>
                <a:lnTo>
                  <a:pt x="1227" y="705"/>
                </a:lnTo>
                <a:lnTo>
                  <a:pt x="1242" y="692"/>
                </a:lnTo>
                <a:lnTo>
                  <a:pt x="1265" y="686"/>
                </a:lnTo>
                <a:lnTo>
                  <a:pt x="1280" y="674"/>
                </a:lnTo>
                <a:lnTo>
                  <a:pt x="1281" y="661"/>
                </a:lnTo>
                <a:lnTo>
                  <a:pt x="1284" y="633"/>
                </a:lnTo>
                <a:lnTo>
                  <a:pt x="1295" y="606"/>
                </a:lnTo>
                <a:lnTo>
                  <a:pt x="1306" y="577"/>
                </a:lnTo>
                <a:lnTo>
                  <a:pt x="1313" y="565"/>
                </a:lnTo>
                <a:lnTo>
                  <a:pt x="1325" y="558"/>
                </a:lnTo>
                <a:lnTo>
                  <a:pt x="1335" y="550"/>
                </a:lnTo>
                <a:lnTo>
                  <a:pt x="1342" y="536"/>
                </a:lnTo>
                <a:lnTo>
                  <a:pt x="1350" y="521"/>
                </a:lnTo>
                <a:lnTo>
                  <a:pt x="1364" y="506"/>
                </a:lnTo>
                <a:lnTo>
                  <a:pt x="1382" y="495"/>
                </a:lnTo>
                <a:lnTo>
                  <a:pt x="1394" y="491"/>
                </a:lnTo>
                <a:lnTo>
                  <a:pt x="1398" y="480"/>
                </a:lnTo>
                <a:lnTo>
                  <a:pt x="1399" y="466"/>
                </a:lnTo>
                <a:lnTo>
                  <a:pt x="1394" y="453"/>
                </a:lnTo>
                <a:lnTo>
                  <a:pt x="1382" y="439"/>
                </a:lnTo>
                <a:lnTo>
                  <a:pt x="1370" y="434"/>
                </a:lnTo>
                <a:lnTo>
                  <a:pt x="1357" y="436"/>
                </a:lnTo>
                <a:lnTo>
                  <a:pt x="1351" y="428"/>
                </a:lnTo>
                <a:lnTo>
                  <a:pt x="1357" y="402"/>
                </a:lnTo>
                <a:lnTo>
                  <a:pt x="1353" y="398"/>
                </a:lnTo>
                <a:lnTo>
                  <a:pt x="1341" y="400"/>
                </a:lnTo>
                <a:lnTo>
                  <a:pt x="1333" y="407"/>
                </a:lnTo>
                <a:lnTo>
                  <a:pt x="1323" y="411"/>
                </a:lnTo>
                <a:lnTo>
                  <a:pt x="1297" y="412"/>
                </a:lnTo>
                <a:lnTo>
                  <a:pt x="1286" y="415"/>
                </a:lnTo>
                <a:lnTo>
                  <a:pt x="1267" y="426"/>
                </a:lnTo>
                <a:lnTo>
                  <a:pt x="1249" y="436"/>
                </a:lnTo>
                <a:lnTo>
                  <a:pt x="1238" y="443"/>
                </a:lnTo>
                <a:lnTo>
                  <a:pt x="1213" y="455"/>
                </a:lnTo>
                <a:lnTo>
                  <a:pt x="1186" y="468"/>
                </a:lnTo>
                <a:lnTo>
                  <a:pt x="1156" y="479"/>
                </a:lnTo>
                <a:lnTo>
                  <a:pt x="1138" y="480"/>
                </a:lnTo>
                <a:lnTo>
                  <a:pt x="1138" y="481"/>
                </a:lnTo>
                <a:lnTo>
                  <a:pt x="1138" y="480"/>
                </a:lnTo>
                <a:lnTo>
                  <a:pt x="1138" y="481"/>
                </a:lnTo>
                <a:lnTo>
                  <a:pt x="1145" y="508"/>
                </a:lnTo>
                <a:lnTo>
                  <a:pt x="1144" y="523"/>
                </a:lnTo>
                <a:lnTo>
                  <a:pt x="1136" y="534"/>
                </a:lnTo>
                <a:lnTo>
                  <a:pt x="1120" y="542"/>
                </a:lnTo>
                <a:lnTo>
                  <a:pt x="1095" y="547"/>
                </a:lnTo>
                <a:lnTo>
                  <a:pt x="1044" y="542"/>
                </a:lnTo>
                <a:lnTo>
                  <a:pt x="1022" y="536"/>
                </a:lnTo>
                <a:lnTo>
                  <a:pt x="1010" y="531"/>
                </a:lnTo>
                <a:lnTo>
                  <a:pt x="1000" y="522"/>
                </a:lnTo>
                <a:lnTo>
                  <a:pt x="993" y="508"/>
                </a:lnTo>
                <a:lnTo>
                  <a:pt x="994" y="508"/>
                </a:lnTo>
                <a:lnTo>
                  <a:pt x="989" y="504"/>
                </a:lnTo>
                <a:lnTo>
                  <a:pt x="993" y="487"/>
                </a:lnTo>
                <a:lnTo>
                  <a:pt x="991" y="480"/>
                </a:lnTo>
                <a:lnTo>
                  <a:pt x="988" y="472"/>
                </a:lnTo>
                <a:lnTo>
                  <a:pt x="979" y="467"/>
                </a:lnTo>
                <a:lnTo>
                  <a:pt x="973" y="475"/>
                </a:lnTo>
                <a:lnTo>
                  <a:pt x="969" y="480"/>
                </a:lnTo>
                <a:lnTo>
                  <a:pt x="964" y="495"/>
                </a:lnTo>
                <a:lnTo>
                  <a:pt x="967" y="508"/>
                </a:lnTo>
                <a:lnTo>
                  <a:pt x="971" y="516"/>
                </a:lnTo>
                <a:lnTo>
                  <a:pt x="976" y="522"/>
                </a:lnTo>
                <a:lnTo>
                  <a:pt x="979" y="536"/>
                </a:lnTo>
                <a:lnTo>
                  <a:pt x="979" y="550"/>
                </a:lnTo>
                <a:lnTo>
                  <a:pt x="964" y="550"/>
                </a:lnTo>
                <a:lnTo>
                  <a:pt x="935" y="552"/>
                </a:lnTo>
                <a:lnTo>
                  <a:pt x="921" y="550"/>
                </a:lnTo>
                <a:lnTo>
                  <a:pt x="906" y="550"/>
                </a:lnTo>
                <a:lnTo>
                  <a:pt x="893" y="545"/>
                </a:lnTo>
                <a:lnTo>
                  <a:pt x="878" y="539"/>
                </a:lnTo>
                <a:lnTo>
                  <a:pt x="863" y="536"/>
                </a:lnTo>
                <a:lnTo>
                  <a:pt x="836" y="531"/>
                </a:lnTo>
                <a:lnTo>
                  <a:pt x="810" y="522"/>
                </a:lnTo>
                <a:lnTo>
                  <a:pt x="792" y="510"/>
                </a:lnTo>
                <a:lnTo>
                  <a:pt x="777" y="508"/>
                </a:lnTo>
                <a:lnTo>
                  <a:pt x="764" y="509"/>
                </a:lnTo>
                <a:lnTo>
                  <a:pt x="748" y="508"/>
                </a:lnTo>
                <a:lnTo>
                  <a:pt x="723" y="495"/>
                </a:lnTo>
                <a:lnTo>
                  <a:pt x="702" y="480"/>
                </a:lnTo>
                <a:lnTo>
                  <a:pt x="688" y="475"/>
                </a:lnTo>
                <a:lnTo>
                  <a:pt x="662" y="467"/>
                </a:lnTo>
                <a:lnTo>
                  <a:pt x="633" y="453"/>
                </a:lnTo>
                <a:lnTo>
                  <a:pt x="617" y="439"/>
                </a:lnTo>
                <a:lnTo>
                  <a:pt x="608" y="425"/>
                </a:lnTo>
                <a:lnTo>
                  <a:pt x="602" y="414"/>
                </a:lnTo>
                <a:lnTo>
                  <a:pt x="593" y="407"/>
                </a:lnTo>
                <a:lnTo>
                  <a:pt x="576" y="404"/>
                </a:lnTo>
                <a:lnTo>
                  <a:pt x="562" y="406"/>
                </a:lnTo>
                <a:lnTo>
                  <a:pt x="550" y="405"/>
                </a:lnTo>
                <a:lnTo>
                  <a:pt x="546" y="398"/>
                </a:lnTo>
                <a:lnTo>
                  <a:pt x="549" y="384"/>
                </a:lnTo>
                <a:lnTo>
                  <a:pt x="553" y="369"/>
                </a:lnTo>
                <a:lnTo>
                  <a:pt x="560" y="359"/>
                </a:lnTo>
                <a:lnTo>
                  <a:pt x="571" y="350"/>
                </a:lnTo>
                <a:lnTo>
                  <a:pt x="582" y="343"/>
                </a:lnTo>
                <a:lnTo>
                  <a:pt x="590" y="338"/>
                </a:lnTo>
                <a:lnTo>
                  <a:pt x="584" y="314"/>
                </a:lnTo>
                <a:lnTo>
                  <a:pt x="583" y="313"/>
                </a:lnTo>
                <a:lnTo>
                  <a:pt x="565" y="299"/>
                </a:lnTo>
                <a:lnTo>
                  <a:pt x="546" y="287"/>
                </a:lnTo>
                <a:lnTo>
                  <a:pt x="533" y="279"/>
                </a:lnTo>
                <a:lnTo>
                  <a:pt x="518" y="270"/>
                </a:lnTo>
                <a:lnTo>
                  <a:pt x="496" y="253"/>
                </a:lnTo>
                <a:lnTo>
                  <a:pt x="494" y="239"/>
                </a:lnTo>
                <a:lnTo>
                  <a:pt x="488" y="231"/>
                </a:lnTo>
                <a:lnTo>
                  <a:pt x="481" y="225"/>
                </a:lnTo>
                <a:lnTo>
                  <a:pt x="474" y="204"/>
                </a:lnTo>
                <a:lnTo>
                  <a:pt x="478" y="192"/>
                </a:lnTo>
                <a:lnTo>
                  <a:pt x="488" y="190"/>
                </a:lnTo>
                <a:lnTo>
                  <a:pt x="505" y="203"/>
                </a:lnTo>
                <a:lnTo>
                  <a:pt x="518" y="207"/>
                </a:lnTo>
                <a:lnTo>
                  <a:pt x="533" y="205"/>
                </a:lnTo>
                <a:lnTo>
                  <a:pt x="542" y="197"/>
                </a:lnTo>
                <a:lnTo>
                  <a:pt x="539" y="182"/>
                </a:lnTo>
                <a:lnTo>
                  <a:pt x="531" y="162"/>
                </a:lnTo>
                <a:lnTo>
                  <a:pt x="525" y="141"/>
                </a:lnTo>
                <a:lnTo>
                  <a:pt x="522" y="121"/>
                </a:lnTo>
                <a:lnTo>
                  <a:pt x="522" y="107"/>
                </a:lnTo>
                <a:lnTo>
                  <a:pt x="516" y="79"/>
                </a:lnTo>
                <a:lnTo>
                  <a:pt x="504" y="58"/>
                </a:lnTo>
                <a:lnTo>
                  <a:pt x="488" y="52"/>
                </a:lnTo>
                <a:lnTo>
                  <a:pt x="469" y="45"/>
                </a:lnTo>
                <a:lnTo>
                  <a:pt x="452" y="31"/>
                </a:lnTo>
                <a:lnTo>
                  <a:pt x="436" y="18"/>
                </a:lnTo>
                <a:lnTo>
                  <a:pt x="419" y="0"/>
                </a:lnTo>
                <a:lnTo>
                  <a:pt x="418" y="1"/>
                </a:lnTo>
                <a:lnTo>
                  <a:pt x="418" y="25"/>
                </a:lnTo>
                <a:lnTo>
                  <a:pt x="407" y="38"/>
                </a:lnTo>
                <a:lnTo>
                  <a:pt x="396" y="40"/>
                </a:lnTo>
                <a:lnTo>
                  <a:pt x="379" y="43"/>
                </a:lnTo>
                <a:lnTo>
                  <a:pt x="366" y="45"/>
                </a:lnTo>
                <a:lnTo>
                  <a:pt x="345" y="40"/>
                </a:lnTo>
                <a:lnTo>
                  <a:pt x="323" y="40"/>
                </a:lnTo>
                <a:lnTo>
                  <a:pt x="312" y="48"/>
                </a:lnTo>
                <a:lnTo>
                  <a:pt x="307" y="58"/>
                </a:lnTo>
                <a:lnTo>
                  <a:pt x="297" y="69"/>
                </a:lnTo>
                <a:lnTo>
                  <a:pt x="293" y="85"/>
                </a:lnTo>
                <a:lnTo>
                  <a:pt x="288" y="98"/>
                </a:lnTo>
                <a:lnTo>
                  <a:pt x="285" y="131"/>
                </a:lnTo>
                <a:lnTo>
                  <a:pt x="299" y="147"/>
                </a:lnTo>
                <a:lnTo>
                  <a:pt x="321" y="150"/>
                </a:lnTo>
                <a:lnTo>
                  <a:pt x="332" y="155"/>
                </a:lnTo>
                <a:lnTo>
                  <a:pt x="340" y="162"/>
                </a:lnTo>
                <a:lnTo>
                  <a:pt x="342" y="173"/>
                </a:lnTo>
                <a:lnTo>
                  <a:pt x="340" y="175"/>
                </a:lnTo>
                <a:lnTo>
                  <a:pt x="329" y="177"/>
                </a:lnTo>
                <a:lnTo>
                  <a:pt x="315" y="180"/>
                </a:lnTo>
                <a:lnTo>
                  <a:pt x="304" y="188"/>
                </a:lnTo>
                <a:lnTo>
                  <a:pt x="293" y="199"/>
                </a:lnTo>
                <a:lnTo>
                  <a:pt x="293" y="207"/>
                </a:lnTo>
                <a:lnTo>
                  <a:pt x="299" y="217"/>
                </a:lnTo>
                <a:lnTo>
                  <a:pt x="301" y="227"/>
                </a:lnTo>
                <a:lnTo>
                  <a:pt x="301" y="232"/>
                </a:lnTo>
                <a:lnTo>
                  <a:pt x="307" y="237"/>
                </a:lnTo>
                <a:lnTo>
                  <a:pt x="312" y="248"/>
                </a:lnTo>
                <a:lnTo>
                  <a:pt x="304" y="259"/>
                </a:lnTo>
                <a:lnTo>
                  <a:pt x="304" y="285"/>
                </a:lnTo>
                <a:lnTo>
                  <a:pt x="293" y="287"/>
                </a:lnTo>
                <a:lnTo>
                  <a:pt x="285" y="295"/>
                </a:lnTo>
                <a:lnTo>
                  <a:pt x="285" y="306"/>
                </a:lnTo>
                <a:lnTo>
                  <a:pt x="272" y="318"/>
                </a:lnTo>
                <a:lnTo>
                  <a:pt x="259" y="321"/>
                </a:lnTo>
                <a:lnTo>
                  <a:pt x="236" y="336"/>
                </a:lnTo>
                <a:lnTo>
                  <a:pt x="223" y="354"/>
                </a:lnTo>
                <a:lnTo>
                  <a:pt x="202" y="357"/>
                </a:lnTo>
                <a:lnTo>
                  <a:pt x="156" y="360"/>
                </a:lnTo>
                <a:lnTo>
                  <a:pt x="142" y="363"/>
                </a:lnTo>
                <a:lnTo>
                  <a:pt x="126" y="371"/>
                </a:lnTo>
                <a:lnTo>
                  <a:pt x="126" y="399"/>
                </a:lnTo>
                <a:lnTo>
                  <a:pt x="116" y="420"/>
                </a:lnTo>
                <a:lnTo>
                  <a:pt x="104" y="436"/>
                </a:lnTo>
                <a:lnTo>
                  <a:pt x="83" y="446"/>
                </a:lnTo>
                <a:lnTo>
                  <a:pt x="66" y="446"/>
                </a:lnTo>
                <a:lnTo>
                  <a:pt x="55" y="451"/>
                </a:lnTo>
                <a:lnTo>
                  <a:pt x="45" y="454"/>
                </a:lnTo>
                <a:lnTo>
                  <a:pt x="34" y="458"/>
                </a:lnTo>
                <a:lnTo>
                  <a:pt x="20" y="458"/>
                </a:lnTo>
                <a:lnTo>
                  <a:pt x="17" y="461"/>
                </a:lnTo>
                <a:lnTo>
                  <a:pt x="17" y="469"/>
                </a:lnTo>
                <a:lnTo>
                  <a:pt x="23" y="477"/>
                </a:lnTo>
                <a:lnTo>
                  <a:pt x="51" y="477"/>
                </a:lnTo>
                <a:lnTo>
                  <a:pt x="55" y="482"/>
                </a:lnTo>
                <a:lnTo>
                  <a:pt x="55" y="484"/>
                </a:lnTo>
                <a:lnTo>
                  <a:pt x="53" y="501"/>
                </a:lnTo>
                <a:lnTo>
                  <a:pt x="58" y="506"/>
                </a:lnTo>
                <a:lnTo>
                  <a:pt x="77" y="506"/>
                </a:lnTo>
                <a:lnTo>
                  <a:pt x="88" y="516"/>
                </a:lnTo>
                <a:lnTo>
                  <a:pt x="88" y="523"/>
                </a:lnTo>
                <a:lnTo>
                  <a:pt x="80" y="534"/>
                </a:lnTo>
                <a:lnTo>
                  <a:pt x="69" y="537"/>
                </a:lnTo>
                <a:lnTo>
                  <a:pt x="53" y="537"/>
                </a:lnTo>
                <a:lnTo>
                  <a:pt x="40" y="539"/>
                </a:lnTo>
                <a:lnTo>
                  <a:pt x="5" y="539"/>
                </a:lnTo>
                <a:lnTo>
                  <a:pt x="1" y="542"/>
                </a:lnTo>
                <a:lnTo>
                  <a:pt x="1" y="553"/>
                </a:lnTo>
                <a:lnTo>
                  <a:pt x="12" y="565"/>
                </a:lnTo>
                <a:lnTo>
                  <a:pt x="23" y="573"/>
                </a:lnTo>
                <a:lnTo>
                  <a:pt x="34" y="578"/>
                </a:lnTo>
                <a:lnTo>
                  <a:pt x="45" y="581"/>
                </a:lnTo>
                <a:lnTo>
                  <a:pt x="60" y="591"/>
                </a:lnTo>
                <a:lnTo>
                  <a:pt x="60" y="593"/>
                </a:lnTo>
                <a:lnTo>
                  <a:pt x="58" y="596"/>
                </a:lnTo>
                <a:lnTo>
                  <a:pt x="45" y="599"/>
                </a:lnTo>
                <a:lnTo>
                  <a:pt x="34" y="604"/>
                </a:lnTo>
                <a:lnTo>
                  <a:pt x="23" y="607"/>
                </a:lnTo>
                <a:lnTo>
                  <a:pt x="9" y="618"/>
                </a:lnTo>
                <a:lnTo>
                  <a:pt x="0" y="630"/>
                </a:lnTo>
                <a:lnTo>
                  <a:pt x="0" y="635"/>
                </a:lnTo>
                <a:lnTo>
                  <a:pt x="12" y="651"/>
                </a:lnTo>
                <a:lnTo>
                  <a:pt x="23" y="662"/>
                </a:lnTo>
                <a:lnTo>
                  <a:pt x="29" y="672"/>
                </a:lnTo>
                <a:lnTo>
                  <a:pt x="37" y="680"/>
                </a:lnTo>
                <a:lnTo>
                  <a:pt x="53" y="693"/>
                </a:lnTo>
                <a:lnTo>
                  <a:pt x="63" y="695"/>
                </a:lnTo>
                <a:lnTo>
                  <a:pt x="74" y="695"/>
                </a:lnTo>
                <a:lnTo>
                  <a:pt x="97" y="688"/>
                </a:lnTo>
                <a:lnTo>
                  <a:pt x="109" y="678"/>
                </a:lnTo>
                <a:lnTo>
                  <a:pt x="117" y="667"/>
                </a:lnTo>
                <a:lnTo>
                  <a:pt x="124" y="667"/>
                </a:lnTo>
                <a:lnTo>
                  <a:pt x="126" y="669"/>
                </a:lnTo>
                <a:lnTo>
                  <a:pt x="126" y="682"/>
                </a:lnTo>
                <a:lnTo>
                  <a:pt x="120" y="697"/>
                </a:lnTo>
                <a:lnTo>
                  <a:pt x="116" y="708"/>
                </a:lnTo>
                <a:lnTo>
                  <a:pt x="113" y="719"/>
                </a:lnTo>
                <a:lnTo>
                  <a:pt x="113" y="730"/>
                </a:lnTo>
                <a:lnTo>
                  <a:pt x="107" y="742"/>
                </a:lnTo>
                <a:lnTo>
                  <a:pt x="102" y="753"/>
                </a:lnTo>
                <a:lnTo>
                  <a:pt x="97" y="765"/>
                </a:lnTo>
                <a:lnTo>
                  <a:pt x="97" y="781"/>
                </a:lnTo>
                <a:lnTo>
                  <a:pt x="94" y="797"/>
                </a:lnTo>
                <a:lnTo>
                  <a:pt x="94" y="811"/>
                </a:lnTo>
                <a:lnTo>
                  <a:pt x="91" y="836"/>
                </a:lnTo>
                <a:lnTo>
                  <a:pt x="94" y="846"/>
                </a:lnTo>
                <a:lnTo>
                  <a:pt x="97" y="885"/>
                </a:lnTo>
                <a:lnTo>
                  <a:pt x="97" y="911"/>
                </a:lnTo>
                <a:lnTo>
                  <a:pt x="99" y="926"/>
                </a:lnTo>
                <a:lnTo>
                  <a:pt x="102" y="937"/>
                </a:lnTo>
                <a:lnTo>
                  <a:pt x="104" y="950"/>
                </a:lnTo>
                <a:lnTo>
                  <a:pt x="109" y="961"/>
                </a:lnTo>
                <a:lnTo>
                  <a:pt x="109" y="973"/>
                </a:lnTo>
                <a:lnTo>
                  <a:pt x="107" y="987"/>
                </a:lnTo>
                <a:lnTo>
                  <a:pt x="109" y="1036"/>
                </a:lnTo>
                <a:lnTo>
                  <a:pt x="126" y="1067"/>
                </a:lnTo>
                <a:lnTo>
                  <a:pt x="140" y="1085"/>
                </a:lnTo>
                <a:lnTo>
                  <a:pt x="150" y="1106"/>
                </a:lnTo>
                <a:lnTo>
                  <a:pt x="153" y="1119"/>
                </a:lnTo>
                <a:lnTo>
                  <a:pt x="150" y="1168"/>
                </a:lnTo>
                <a:lnTo>
                  <a:pt x="167" y="1187"/>
                </a:lnTo>
                <a:lnTo>
                  <a:pt x="172" y="1207"/>
                </a:lnTo>
                <a:lnTo>
                  <a:pt x="172" y="1230"/>
                </a:lnTo>
                <a:lnTo>
                  <a:pt x="175" y="1241"/>
                </a:lnTo>
                <a:lnTo>
                  <a:pt x="177" y="1244"/>
                </a:lnTo>
                <a:lnTo>
                  <a:pt x="186" y="1255"/>
                </a:lnTo>
                <a:lnTo>
                  <a:pt x="188" y="1273"/>
                </a:lnTo>
                <a:lnTo>
                  <a:pt x="191" y="1293"/>
                </a:lnTo>
                <a:lnTo>
                  <a:pt x="193" y="1304"/>
                </a:lnTo>
                <a:lnTo>
                  <a:pt x="196" y="1317"/>
                </a:lnTo>
                <a:lnTo>
                  <a:pt x="202" y="1338"/>
                </a:lnTo>
                <a:lnTo>
                  <a:pt x="215" y="1356"/>
                </a:lnTo>
                <a:lnTo>
                  <a:pt x="220" y="1356"/>
                </a:lnTo>
                <a:lnTo>
                  <a:pt x="239" y="1353"/>
                </a:lnTo>
                <a:lnTo>
                  <a:pt x="245" y="1358"/>
                </a:lnTo>
                <a:lnTo>
                  <a:pt x="245" y="1366"/>
                </a:lnTo>
                <a:lnTo>
                  <a:pt x="242" y="1384"/>
                </a:lnTo>
                <a:lnTo>
                  <a:pt x="245" y="1395"/>
                </a:lnTo>
                <a:lnTo>
                  <a:pt x="250" y="1405"/>
                </a:lnTo>
                <a:lnTo>
                  <a:pt x="250" y="1431"/>
                </a:lnTo>
                <a:lnTo>
                  <a:pt x="254" y="1444"/>
                </a:lnTo>
                <a:lnTo>
                  <a:pt x="270" y="1465"/>
                </a:lnTo>
                <a:lnTo>
                  <a:pt x="280" y="1477"/>
                </a:lnTo>
                <a:lnTo>
                  <a:pt x="291" y="1499"/>
                </a:lnTo>
                <a:lnTo>
                  <a:pt x="301" y="1504"/>
                </a:lnTo>
                <a:lnTo>
                  <a:pt x="321" y="1504"/>
                </a:lnTo>
                <a:lnTo>
                  <a:pt x="332" y="1499"/>
                </a:lnTo>
                <a:lnTo>
                  <a:pt x="347" y="1488"/>
                </a:lnTo>
                <a:lnTo>
                  <a:pt x="356" y="1477"/>
                </a:lnTo>
                <a:lnTo>
                  <a:pt x="362" y="1468"/>
                </a:lnTo>
                <a:lnTo>
                  <a:pt x="378" y="1447"/>
                </a:lnTo>
                <a:lnTo>
                  <a:pt x="407" y="1447"/>
                </a:lnTo>
                <a:lnTo>
                  <a:pt x="410" y="1444"/>
                </a:lnTo>
                <a:lnTo>
                  <a:pt x="410" y="1441"/>
                </a:lnTo>
                <a:lnTo>
                  <a:pt x="407" y="1431"/>
                </a:lnTo>
                <a:lnTo>
                  <a:pt x="416" y="1418"/>
                </a:lnTo>
                <a:lnTo>
                  <a:pt x="423" y="1408"/>
                </a:lnTo>
                <a:lnTo>
                  <a:pt x="426" y="1397"/>
                </a:lnTo>
                <a:lnTo>
                  <a:pt x="435" y="1390"/>
                </a:lnTo>
                <a:lnTo>
                  <a:pt x="445" y="1390"/>
                </a:lnTo>
                <a:lnTo>
                  <a:pt x="453" y="1382"/>
                </a:lnTo>
                <a:lnTo>
                  <a:pt x="456" y="1330"/>
                </a:lnTo>
                <a:lnTo>
                  <a:pt x="462" y="1309"/>
                </a:lnTo>
                <a:lnTo>
                  <a:pt x="466" y="1298"/>
                </a:lnTo>
                <a:lnTo>
                  <a:pt x="472" y="1286"/>
                </a:lnTo>
                <a:lnTo>
                  <a:pt x="478" y="1275"/>
                </a:lnTo>
                <a:lnTo>
                  <a:pt x="488" y="1265"/>
                </a:lnTo>
                <a:lnTo>
                  <a:pt x="492" y="1250"/>
                </a:lnTo>
                <a:lnTo>
                  <a:pt x="492" y="1215"/>
                </a:lnTo>
                <a:lnTo>
                  <a:pt x="488" y="1205"/>
                </a:lnTo>
                <a:lnTo>
                  <a:pt x="483" y="1166"/>
                </a:lnTo>
                <a:lnTo>
                  <a:pt x="483" y="1143"/>
                </a:lnTo>
                <a:lnTo>
                  <a:pt x="486" y="1129"/>
                </a:lnTo>
                <a:lnTo>
                  <a:pt x="494" y="1116"/>
                </a:lnTo>
                <a:lnTo>
                  <a:pt x="505" y="1109"/>
                </a:lnTo>
                <a:lnTo>
                  <a:pt x="537" y="1109"/>
                </a:lnTo>
                <a:lnTo>
                  <a:pt x="548" y="1106"/>
                </a:lnTo>
                <a:lnTo>
                  <a:pt x="561" y="1098"/>
                </a:lnTo>
                <a:lnTo>
                  <a:pt x="599" y="1080"/>
                </a:lnTo>
                <a:lnTo>
                  <a:pt x="616" y="1069"/>
                </a:lnTo>
                <a:lnTo>
                  <a:pt x="616" y="1062"/>
                </a:lnTo>
                <a:lnTo>
                  <a:pt x="619" y="1052"/>
                </a:lnTo>
                <a:lnTo>
                  <a:pt x="632" y="1033"/>
                </a:lnTo>
                <a:lnTo>
                  <a:pt x="645" y="1026"/>
                </a:lnTo>
                <a:lnTo>
                  <a:pt x="656" y="1023"/>
                </a:lnTo>
                <a:lnTo>
                  <a:pt x="670" y="1015"/>
                </a:lnTo>
                <a:lnTo>
                  <a:pt x="675" y="1010"/>
                </a:lnTo>
                <a:lnTo>
                  <a:pt x="686" y="998"/>
                </a:lnTo>
                <a:lnTo>
                  <a:pt x="699" y="989"/>
                </a:lnTo>
                <a:lnTo>
                  <a:pt x="710" y="987"/>
                </a:lnTo>
                <a:lnTo>
                  <a:pt x="721" y="979"/>
                </a:lnTo>
                <a:lnTo>
                  <a:pt x="732" y="976"/>
                </a:lnTo>
                <a:lnTo>
                  <a:pt x="734" y="973"/>
                </a:lnTo>
                <a:lnTo>
                  <a:pt x="751" y="952"/>
                </a:lnTo>
                <a:lnTo>
                  <a:pt x="754" y="950"/>
                </a:lnTo>
                <a:lnTo>
                  <a:pt x="764" y="948"/>
                </a:lnTo>
                <a:lnTo>
                  <a:pt x="778" y="934"/>
                </a:lnTo>
                <a:lnTo>
                  <a:pt x="781" y="914"/>
                </a:lnTo>
                <a:lnTo>
                  <a:pt x="786" y="908"/>
                </a:lnTo>
                <a:lnTo>
                  <a:pt x="794" y="908"/>
                </a:lnTo>
                <a:lnTo>
                  <a:pt x="807" y="917"/>
                </a:lnTo>
                <a:lnTo>
                  <a:pt x="829" y="911"/>
                </a:lnTo>
              </a:path>
            </a:pathLst>
          </a:custGeom>
          <a:solidFill>
            <a:schemeClr val="accent2"/>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30" name="Freeform 30">
            <a:extLst>
              <a:ext uri="{FF2B5EF4-FFF2-40B4-BE49-F238E27FC236}">
                <a16:creationId xmlns:a16="http://schemas.microsoft.com/office/drawing/2014/main" id="{728C0011-E19D-47F8-BACE-F1CBE0E34816}"/>
              </a:ext>
            </a:extLst>
          </p:cNvPr>
          <p:cNvSpPr>
            <a:spLocks/>
          </p:cNvSpPr>
          <p:nvPr>
            <p:custDataLst>
              <p:tags r:id="rId23"/>
            </p:custDataLst>
          </p:nvPr>
        </p:nvSpPr>
        <p:spPr bwMode="auto">
          <a:xfrm>
            <a:off x="6862726" y="396093"/>
            <a:ext cx="3490811" cy="3162209"/>
          </a:xfrm>
          <a:custGeom>
            <a:avLst/>
            <a:gdLst>
              <a:gd name="T0" fmla="*/ 136 w 2176"/>
              <a:gd name="T1" fmla="*/ 1505 h 1973"/>
              <a:gd name="T2" fmla="*/ 236 w 2176"/>
              <a:gd name="T3" fmla="*/ 1577 h 1973"/>
              <a:gd name="T4" fmla="*/ 380 w 2176"/>
              <a:gd name="T5" fmla="*/ 1624 h 1973"/>
              <a:gd name="T6" fmla="*/ 410 w 2176"/>
              <a:gd name="T7" fmla="*/ 1639 h 1973"/>
              <a:gd name="T8" fmla="*/ 538 w 2176"/>
              <a:gd name="T9" fmla="*/ 1615 h 1973"/>
              <a:gd name="T10" fmla="*/ 671 w 2176"/>
              <a:gd name="T11" fmla="*/ 1575 h 1973"/>
              <a:gd name="T12" fmla="*/ 782 w 2176"/>
              <a:gd name="T13" fmla="*/ 1544 h 1973"/>
              <a:gd name="T14" fmla="*/ 891 w 2176"/>
              <a:gd name="T15" fmla="*/ 1616 h 1973"/>
              <a:gd name="T16" fmla="*/ 911 w 2176"/>
              <a:gd name="T17" fmla="*/ 1712 h 1973"/>
              <a:gd name="T18" fmla="*/ 838 w 2176"/>
              <a:gd name="T19" fmla="*/ 1788 h 1973"/>
              <a:gd name="T20" fmla="*/ 848 w 2176"/>
              <a:gd name="T21" fmla="*/ 1845 h 1973"/>
              <a:gd name="T22" fmla="*/ 925 w 2176"/>
              <a:gd name="T23" fmla="*/ 1858 h 1973"/>
              <a:gd name="T24" fmla="*/ 960 w 2176"/>
              <a:gd name="T25" fmla="*/ 1899 h 1973"/>
              <a:gd name="T26" fmla="*/ 1023 w 2176"/>
              <a:gd name="T27" fmla="*/ 1955 h 1973"/>
              <a:gd name="T28" fmla="*/ 1082 w 2176"/>
              <a:gd name="T29" fmla="*/ 1962 h 1973"/>
              <a:gd name="T30" fmla="*/ 1122 w 2176"/>
              <a:gd name="T31" fmla="*/ 1891 h 1973"/>
              <a:gd name="T32" fmla="*/ 1221 w 2176"/>
              <a:gd name="T33" fmla="*/ 1879 h 1973"/>
              <a:gd name="T34" fmla="*/ 1292 w 2176"/>
              <a:gd name="T35" fmla="*/ 1826 h 1973"/>
              <a:gd name="T36" fmla="*/ 1338 w 2176"/>
              <a:gd name="T37" fmla="*/ 1867 h 1973"/>
              <a:gd name="T38" fmla="*/ 1403 w 2176"/>
              <a:gd name="T39" fmla="*/ 1923 h 1973"/>
              <a:gd name="T40" fmla="*/ 1503 w 2176"/>
              <a:gd name="T41" fmla="*/ 1912 h 1973"/>
              <a:gd name="T42" fmla="*/ 1545 w 2176"/>
              <a:gd name="T43" fmla="*/ 1971 h 1973"/>
              <a:gd name="T44" fmla="*/ 1565 w 2176"/>
              <a:gd name="T45" fmla="*/ 1904 h 1973"/>
              <a:gd name="T46" fmla="*/ 1669 w 2176"/>
              <a:gd name="T47" fmla="*/ 1849 h 1973"/>
              <a:gd name="T48" fmla="*/ 1704 w 2176"/>
              <a:gd name="T49" fmla="*/ 1784 h 1973"/>
              <a:gd name="T50" fmla="*/ 1757 w 2176"/>
              <a:gd name="T51" fmla="*/ 1788 h 1973"/>
              <a:gd name="T52" fmla="*/ 1858 w 2176"/>
              <a:gd name="T53" fmla="*/ 1730 h 1973"/>
              <a:gd name="T54" fmla="*/ 1912 w 2176"/>
              <a:gd name="T55" fmla="*/ 1686 h 1973"/>
              <a:gd name="T56" fmla="*/ 1971 w 2176"/>
              <a:gd name="T57" fmla="*/ 1575 h 1973"/>
              <a:gd name="T58" fmla="*/ 1988 w 2176"/>
              <a:gd name="T59" fmla="*/ 1509 h 1973"/>
              <a:gd name="T60" fmla="*/ 1998 w 2176"/>
              <a:gd name="T61" fmla="*/ 1423 h 1973"/>
              <a:gd name="T62" fmla="*/ 2033 w 2176"/>
              <a:gd name="T63" fmla="*/ 1342 h 1973"/>
              <a:gd name="T64" fmla="*/ 2031 w 2176"/>
              <a:gd name="T65" fmla="*/ 1311 h 1973"/>
              <a:gd name="T66" fmla="*/ 1985 w 2176"/>
              <a:gd name="T67" fmla="*/ 1297 h 1973"/>
              <a:gd name="T68" fmla="*/ 1990 w 2176"/>
              <a:gd name="T69" fmla="*/ 1253 h 1973"/>
              <a:gd name="T70" fmla="*/ 1932 w 2176"/>
              <a:gd name="T71" fmla="*/ 1201 h 1973"/>
              <a:gd name="T72" fmla="*/ 1934 w 2176"/>
              <a:gd name="T73" fmla="*/ 1160 h 1973"/>
              <a:gd name="T74" fmla="*/ 1859 w 2176"/>
              <a:gd name="T75" fmla="*/ 1086 h 1973"/>
              <a:gd name="T76" fmla="*/ 1843 w 2176"/>
              <a:gd name="T77" fmla="*/ 1009 h 1973"/>
              <a:gd name="T78" fmla="*/ 1908 w 2176"/>
              <a:gd name="T79" fmla="*/ 920 h 1973"/>
              <a:gd name="T80" fmla="*/ 1830 w 2176"/>
              <a:gd name="T81" fmla="*/ 889 h 1973"/>
              <a:gd name="T82" fmla="*/ 1752 w 2176"/>
              <a:gd name="T83" fmla="*/ 915 h 1973"/>
              <a:gd name="T84" fmla="*/ 1702 w 2176"/>
              <a:gd name="T85" fmla="*/ 852 h 1973"/>
              <a:gd name="T86" fmla="*/ 1768 w 2176"/>
              <a:gd name="T87" fmla="*/ 760 h 1973"/>
              <a:gd name="T88" fmla="*/ 1848 w 2176"/>
              <a:gd name="T89" fmla="*/ 737 h 1973"/>
              <a:gd name="T90" fmla="*/ 1840 w 2176"/>
              <a:gd name="T91" fmla="*/ 829 h 1973"/>
              <a:gd name="T92" fmla="*/ 1924 w 2176"/>
              <a:gd name="T93" fmla="*/ 751 h 1973"/>
              <a:gd name="T94" fmla="*/ 1979 w 2176"/>
              <a:gd name="T95" fmla="*/ 656 h 1973"/>
              <a:gd name="T96" fmla="*/ 2041 w 2176"/>
              <a:gd name="T97" fmla="*/ 611 h 1973"/>
              <a:gd name="T98" fmla="*/ 2086 w 2176"/>
              <a:gd name="T99" fmla="*/ 491 h 1973"/>
              <a:gd name="T100" fmla="*/ 2118 w 2176"/>
              <a:gd name="T101" fmla="*/ 374 h 1973"/>
              <a:gd name="T102" fmla="*/ 2173 w 2176"/>
              <a:gd name="T103" fmla="*/ 287 h 1973"/>
              <a:gd name="T104" fmla="*/ 2140 w 2176"/>
              <a:gd name="T105" fmla="*/ 180 h 1973"/>
              <a:gd name="T106" fmla="*/ 2096 w 2176"/>
              <a:gd name="T107" fmla="*/ 109 h 1973"/>
              <a:gd name="T108" fmla="*/ 1938 w 2176"/>
              <a:gd name="T109" fmla="*/ 134 h 1973"/>
              <a:gd name="T110" fmla="*/ 1812 w 2176"/>
              <a:gd name="T111" fmla="*/ 107 h 1973"/>
              <a:gd name="T112" fmla="*/ 1698 w 2176"/>
              <a:gd name="T113" fmla="*/ 3 h 1973"/>
              <a:gd name="T114" fmla="*/ 1591 w 2176"/>
              <a:gd name="T115" fmla="*/ 19 h 1973"/>
              <a:gd name="T116" fmla="*/ 1531 w 2176"/>
              <a:gd name="T117" fmla="*/ 77 h 1973"/>
              <a:gd name="T118" fmla="*/ 1537 w 2176"/>
              <a:gd name="T119" fmla="*/ 228 h 1973"/>
              <a:gd name="T120" fmla="*/ 1472 w 2176"/>
              <a:gd name="T121" fmla="*/ 281 h 1973"/>
              <a:gd name="T122" fmla="*/ 1462 w 2176"/>
              <a:gd name="T123" fmla="*/ 420 h 1973"/>
              <a:gd name="T124" fmla="*/ 1549 w 2176"/>
              <a:gd name="T125" fmla="*/ 387 h 19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76" h="1973">
                <a:moveTo>
                  <a:pt x="0" y="1426"/>
                </a:moveTo>
                <a:lnTo>
                  <a:pt x="1" y="1427"/>
                </a:lnTo>
                <a:lnTo>
                  <a:pt x="4" y="1429"/>
                </a:lnTo>
                <a:lnTo>
                  <a:pt x="14" y="1440"/>
                </a:lnTo>
                <a:lnTo>
                  <a:pt x="35" y="1454"/>
                </a:lnTo>
                <a:lnTo>
                  <a:pt x="78" y="1478"/>
                </a:lnTo>
                <a:lnTo>
                  <a:pt x="107" y="1493"/>
                </a:lnTo>
                <a:lnTo>
                  <a:pt x="136" y="1505"/>
                </a:lnTo>
                <a:lnTo>
                  <a:pt x="149" y="1510"/>
                </a:lnTo>
                <a:lnTo>
                  <a:pt x="171" y="1521"/>
                </a:lnTo>
                <a:lnTo>
                  <a:pt x="192" y="1533"/>
                </a:lnTo>
                <a:lnTo>
                  <a:pt x="206" y="1544"/>
                </a:lnTo>
                <a:lnTo>
                  <a:pt x="213" y="1552"/>
                </a:lnTo>
                <a:lnTo>
                  <a:pt x="221" y="1562"/>
                </a:lnTo>
                <a:lnTo>
                  <a:pt x="228" y="1570"/>
                </a:lnTo>
                <a:lnTo>
                  <a:pt x="236" y="1577"/>
                </a:lnTo>
                <a:lnTo>
                  <a:pt x="250" y="1578"/>
                </a:lnTo>
                <a:lnTo>
                  <a:pt x="265" y="1591"/>
                </a:lnTo>
                <a:lnTo>
                  <a:pt x="279" y="1593"/>
                </a:lnTo>
                <a:lnTo>
                  <a:pt x="305" y="1596"/>
                </a:lnTo>
                <a:lnTo>
                  <a:pt x="333" y="1603"/>
                </a:lnTo>
                <a:lnTo>
                  <a:pt x="352" y="1608"/>
                </a:lnTo>
                <a:lnTo>
                  <a:pt x="367" y="1616"/>
                </a:lnTo>
                <a:lnTo>
                  <a:pt x="380" y="1624"/>
                </a:lnTo>
                <a:lnTo>
                  <a:pt x="386" y="1610"/>
                </a:lnTo>
                <a:lnTo>
                  <a:pt x="389" y="1604"/>
                </a:lnTo>
                <a:lnTo>
                  <a:pt x="396" y="1596"/>
                </a:lnTo>
                <a:lnTo>
                  <a:pt x="404" y="1602"/>
                </a:lnTo>
                <a:lnTo>
                  <a:pt x="408" y="1610"/>
                </a:lnTo>
                <a:lnTo>
                  <a:pt x="410" y="1618"/>
                </a:lnTo>
                <a:lnTo>
                  <a:pt x="404" y="1634"/>
                </a:lnTo>
                <a:lnTo>
                  <a:pt x="410" y="1639"/>
                </a:lnTo>
                <a:lnTo>
                  <a:pt x="409" y="1639"/>
                </a:lnTo>
                <a:lnTo>
                  <a:pt x="435" y="1621"/>
                </a:lnTo>
                <a:lnTo>
                  <a:pt x="452" y="1613"/>
                </a:lnTo>
                <a:lnTo>
                  <a:pt x="469" y="1608"/>
                </a:lnTo>
                <a:lnTo>
                  <a:pt x="484" y="1610"/>
                </a:lnTo>
                <a:lnTo>
                  <a:pt x="499" y="1611"/>
                </a:lnTo>
                <a:lnTo>
                  <a:pt x="526" y="1614"/>
                </a:lnTo>
                <a:lnTo>
                  <a:pt x="538" y="1615"/>
                </a:lnTo>
                <a:lnTo>
                  <a:pt x="557" y="1616"/>
                </a:lnTo>
                <a:lnTo>
                  <a:pt x="557" y="1616"/>
                </a:lnTo>
                <a:lnTo>
                  <a:pt x="557" y="1616"/>
                </a:lnTo>
                <a:lnTo>
                  <a:pt x="576" y="1614"/>
                </a:lnTo>
                <a:lnTo>
                  <a:pt x="606" y="1605"/>
                </a:lnTo>
                <a:lnTo>
                  <a:pt x="634" y="1593"/>
                </a:lnTo>
                <a:lnTo>
                  <a:pt x="660" y="1581"/>
                </a:lnTo>
                <a:lnTo>
                  <a:pt x="671" y="1575"/>
                </a:lnTo>
                <a:lnTo>
                  <a:pt x="690" y="1566"/>
                </a:lnTo>
                <a:lnTo>
                  <a:pt x="709" y="1556"/>
                </a:lnTo>
                <a:lnTo>
                  <a:pt x="721" y="1552"/>
                </a:lnTo>
                <a:lnTo>
                  <a:pt x="748" y="1551"/>
                </a:lnTo>
                <a:lnTo>
                  <a:pt x="758" y="1548"/>
                </a:lnTo>
                <a:lnTo>
                  <a:pt x="766" y="1541"/>
                </a:lnTo>
                <a:lnTo>
                  <a:pt x="778" y="1539"/>
                </a:lnTo>
                <a:lnTo>
                  <a:pt x="782" y="1544"/>
                </a:lnTo>
                <a:lnTo>
                  <a:pt x="775" y="1571"/>
                </a:lnTo>
                <a:lnTo>
                  <a:pt x="781" y="1578"/>
                </a:lnTo>
                <a:lnTo>
                  <a:pt x="794" y="1578"/>
                </a:lnTo>
                <a:lnTo>
                  <a:pt x="806" y="1582"/>
                </a:lnTo>
                <a:lnTo>
                  <a:pt x="836" y="1586"/>
                </a:lnTo>
                <a:lnTo>
                  <a:pt x="861" y="1598"/>
                </a:lnTo>
                <a:lnTo>
                  <a:pt x="879" y="1611"/>
                </a:lnTo>
                <a:lnTo>
                  <a:pt x="891" y="1616"/>
                </a:lnTo>
                <a:lnTo>
                  <a:pt x="894" y="1626"/>
                </a:lnTo>
                <a:lnTo>
                  <a:pt x="908" y="1617"/>
                </a:lnTo>
                <a:lnTo>
                  <a:pt x="922" y="1628"/>
                </a:lnTo>
                <a:lnTo>
                  <a:pt x="924" y="1634"/>
                </a:lnTo>
                <a:lnTo>
                  <a:pt x="927" y="1649"/>
                </a:lnTo>
                <a:lnTo>
                  <a:pt x="925" y="1684"/>
                </a:lnTo>
                <a:lnTo>
                  <a:pt x="919" y="1698"/>
                </a:lnTo>
                <a:lnTo>
                  <a:pt x="911" y="1712"/>
                </a:lnTo>
                <a:lnTo>
                  <a:pt x="900" y="1726"/>
                </a:lnTo>
                <a:lnTo>
                  <a:pt x="887" y="1740"/>
                </a:lnTo>
                <a:lnTo>
                  <a:pt x="873" y="1755"/>
                </a:lnTo>
                <a:lnTo>
                  <a:pt x="861" y="1766"/>
                </a:lnTo>
                <a:lnTo>
                  <a:pt x="851" y="1770"/>
                </a:lnTo>
                <a:lnTo>
                  <a:pt x="838" y="1774"/>
                </a:lnTo>
                <a:lnTo>
                  <a:pt x="835" y="1780"/>
                </a:lnTo>
                <a:lnTo>
                  <a:pt x="838" y="1788"/>
                </a:lnTo>
                <a:lnTo>
                  <a:pt x="849" y="1796"/>
                </a:lnTo>
                <a:lnTo>
                  <a:pt x="856" y="1803"/>
                </a:lnTo>
                <a:lnTo>
                  <a:pt x="867" y="1809"/>
                </a:lnTo>
                <a:lnTo>
                  <a:pt x="877" y="1820"/>
                </a:lnTo>
                <a:lnTo>
                  <a:pt x="862" y="1827"/>
                </a:lnTo>
                <a:lnTo>
                  <a:pt x="856" y="1831"/>
                </a:lnTo>
                <a:lnTo>
                  <a:pt x="849" y="1839"/>
                </a:lnTo>
                <a:lnTo>
                  <a:pt x="848" y="1845"/>
                </a:lnTo>
                <a:lnTo>
                  <a:pt x="849" y="1855"/>
                </a:lnTo>
                <a:lnTo>
                  <a:pt x="864" y="1846"/>
                </a:lnTo>
                <a:lnTo>
                  <a:pt x="871" y="1842"/>
                </a:lnTo>
                <a:lnTo>
                  <a:pt x="885" y="1838"/>
                </a:lnTo>
                <a:lnTo>
                  <a:pt x="901" y="1835"/>
                </a:lnTo>
                <a:lnTo>
                  <a:pt x="912" y="1835"/>
                </a:lnTo>
                <a:lnTo>
                  <a:pt x="919" y="1847"/>
                </a:lnTo>
                <a:lnTo>
                  <a:pt x="925" y="1858"/>
                </a:lnTo>
                <a:lnTo>
                  <a:pt x="938" y="1861"/>
                </a:lnTo>
                <a:lnTo>
                  <a:pt x="947" y="1866"/>
                </a:lnTo>
                <a:lnTo>
                  <a:pt x="942" y="1879"/>
                </a:lnTo>
                <a:lnTo>
                  <a:pt x="943" y="1886"/>
                </a:lnTo>
                <a:lnTo>
                  <a:pt x="951" y="1886"/>
                </a:lnTo>
                <a:lnTo>
                  <a:pt x="961" y="1883"/>
                </a:lnTo>
                <a:lnTo>
                  <a:pt x="963" y="1889"/>
                </a:lnTo>
                <a:lnTo>
                  <a:pt x="960" y="1899"/>
                </a:lnTo>
                <a:lnTo>
                  <a:pt x="956" y="1911"/>
                </a:lnTo>
                <a:lnTo>
                  <a:pt x="954" y="1917"/>
                </a:lnTo>
                <a:lnTo>
                  <a:pt x="955" y="1925"/>
                </a:lnTo>
                <a:lnTo>
                  <a:pt x="970" y="1936"/>
                </a:lnTo>
                <a:lnTo>
                  <a:pt x="983" y="1940"/>
                </a:lnTo>
                <a:lnTo>
                  <a:pt x="999" y="1943"/>
                </a:lnTo>
                <a:lnTo>
                  <a:pt x="1015" y="1947"/>
                </a:lnTo>
                <a:lnTo>
                  <a:pt x="1023" y="1955"/>
                </a:lnTo>
                <a:lnTo>
                  <a:pt x="1026" y="1969"/>
                </a:lnTo>
                <a:lnTo>
                  <a:pt x="1026" y="1968"/>
                </a:lnTo>
                <a:lnTo>
                  <a:pt x="1026" y="1969"/>
                </a:lnTo>
                <a:lnTo>
                  <a:pt x="1037" y="1966"/>
                </a:lnTo>
                <a:lnTo>
                  <a:pt x="1048" y="1966"/>
                </a:lnTo>
                <a:lnTo>
                  <a:pt x="1056" y="1967"/>
                </a:lnTo>
                <a:lnTo>
                  <a:pt x="1070" y="1968"/>
                </a:lnTo>
                <a:lnTo>
                  <a:pt x="1082" y="1962"/>
                </a:lnTo>
                <a:lnTo>
                  <a:pt x="1090" y="1946"/>
                </a:lnTo>
                <a:lnTo>
                  <a:pt x="1086" y="1929"/>
                </a:lnTo>
                <a:lnTo>
                  <a:pt x="1079" y="1918"/>
                </a:lnTo>
                <a:lnTo>
                  <a:pt x="1075" y="1903"/>
                </a:lnTo>
                <a:lnTo>
                  <a:pt x="1087" y="1899"/>
                </a:lnTo>
                <a:lnTo>
                  <a:pt x="1102" y="1902"/>
                </a:lnTo>
                <a:lnTo>
                  <a:pt x="1111" y="1895"/>
                </a:lnTo>
                <a:lnTo>
                  <a:pt x="1122" y="1891"/>
                </a:lnTo>
                <a:lnTo>
                  <a:pt x="1133" y="1891"/>
                </a:lnTo>
                <a:lnTo>
                  <a:pt x="1146" y="1897"/>
                </a:lnTo>
                <a:lnTo>
                  <a:pt x="1165" y="1886"/>
                </a:lnTo>
                <a:lnTo>
                  <a:pt x="1176" y="1879"/>
                </a:lnTo>
                <a:lnTo>
                  <a:pt x="1183" y="1885"/>
                </a:lnTo>
                <a:lnTo>
                  <a:pt x="1190" y="1891"/>
                </a:lnTo>
                <a:lnTo>
                  <a:pt x="1207" y="1885"/>
                </a:lnTo>
                <a:lnTo>
                  <a:pt x="1221" y="1879"/>
                </a:lnTo>
                <a:lnTo>
                  <a:pt x="1227" y="1878"/>
                </a:lnTo>
                <a:lnTo>
                  <a:pt x="1235" y="1875"/>
                </a:lnTo>
                <a:lnTo>
                  <a:pt x="1248" y="1863"/>
                </a:lnTo>
                <a:lnTo>
                  <a:pt x="1251" y="1851"/>
                </a:lnTo>
                <a:lnTo>
                  <a:pt x="1254" y="1836"/>
                </a:lnTo>
                <a:lnTo>
                  <a:pt x="1266" y="1825"/>
                </a:lnTo>
                <a:lnTo>
                  <a:pt x="1281" y="1821"/>
                </a:lnTo>
                <a:lnTo>
                  <a:pt x="1292" y="1826"/>
                </a:lnTo>
                <a:lnTo>
                  <a:pt x="1295" y="1837"/>
                </a:lnTo>
                <a:lnTo>
                  <a:pt x="1298" y="1849"/>
                </a:lnTo>
                <a:lnTo>
                  <a:pt x="1306" y="1852"/>
                </a:lnTo>
                <a:lnTo>
                  <a:pt x="1334" y="1848"/>
                </a:lnTo>
                <a:lnTo>
                  <a:pt x="1339" y="1850"/>
                </a:lnTo>
                <a:lnTo>
                  <a:pt x="1342" y="1853"/>
                </a:lnTo>
                <a:lnTo>
                  <a:pt x="1342" y="1860"/>
                </a:lnTo>
                <a:lnTo>
                  <a:pt x="1338" y="1867"/>
                </a:lnTo>
                <a:lnTo>
                  <a:pt x="1322" y="1882"/>
                </a:lnTo>
                <a:lnTo>
                  <a:pt x="1331" y="1890"/>
                </a:lnTo>
                <a:lnTo>
                  <a:pt x="1352" y="1896"/>
                </a:lnTo>
                <a:lnTo>
                  <a:pt x="1362" y="1901"/>
                </a:lnTo>
                <a:lnTo>
                  <a:pt x="1380" y="1909"/>
                </a:lnTo>
                <a:lnTo>
                  <a:pt x="1390" y="1917"/>
                </a:lnTo>
                <a:lnTo>
                  <a:pt x="1394" y="1926"/>
                </a:lnTo>
                <a:lnTo>
                  <a:pt x="1403" y="1923"/>
                </a:lnTo>
                <a:lnTo>
                  <a:pt x="1418" y="1920"/>
                </a:lnTo>
                <a:lnTo>
                  <a:pt x="1440" y="1910"/>
                </a:lnTo>
                <a:lnTo>
                  <a:pt x="1451" y="1908"/>
                </a:lnTo>
                <a:lnTo>
                  <a:pt x="1467" y="1912"/>
                </a:lnTo>
                <a:lnTo>
                  <a:pt x="1478" y="1913"/>
                </a:lnTo>
                <a:lnTo>
                  <a:pt x="1491" y="1903"/>
                </a:lnTo>
                <a:lnTo>
                  <a:pt x="1495" y="1903"/>
                </a:lnTo>
                <a:lnTo>
                  <a:pt x="1503" y="1912"/>
                </a:lnTo>
                <a:lnTo>
                  <a:pt x="1502" y="1935"/>
                </a:lnTo>
                <a:lnTo>
                  <a:pt x="1507" y="1945"/>
                </a:lnTo>
                <a:lnTo>
                  <a:pt x="1516" y="1957"/>
                </a:lnTo>
                <a:lnTo>
                  <a:pt x="1521" y="1970"/>
                </a:lnTo>
                <a:lnTo>
                  <a:pt x="1523" y="1972"/>
                </a:lnTo>
                <a:lnTo>
                  <a:pt x="1541" y="1973"/>
                </a:lnTo>
                <a:lnTo>
                  <a:pt x="1545" y="1973"/>
                </a:lnTo>
                <a:lnTo>
                  <a:pt x="1545" y="1971"/>
                </a:lnTo>
                <a:lnTo>
                  <a:pt x="1550" y="1961"/>
                </a:lnTo>
                <a:lnTo>
                  <a:pt x="1551" y="1946"/>
                </a:lnTo>
                <a:lnTo>
                  <a:pt x="1538" y="1936"/>
                </a:lnTo>
                <a:lnTo>
                  <a:pt x="1532" y="1931"/>
                </a:lnTo>
                <a:lnTo>
                  <a:pt x="1541" y="1924"/>
                </a:lnTo>
                <a:lnTo>
                  <a:pt x="1543" y="1911"/>
                </a:lnTo>
                <a:lnTo>
                  <a:pt x="1555" y="1908"/>
                </a:lnTo>
                <a:lnTo>
                  <a:pt x="1565" y="1904"/>
                </a:lnTo>
                <a:lnTo>
                  <a:pt x="1594" y="1889"/>
                </a:lnTo>
                <a:lnTo>
                  <a:pt x="1610" y="1887"/>
                </a:lnTo>
                <a:lnTo>
                  <a:pt x="1622" y="1880"/>
                </a:lnTo>
                <a:lnTo>
                  <a:pt x="1624" y="1876"/>
                </a:lnTo>
                <a:lnTo>
                  <a:pt x="1637" y="1870"/>
                </a:lnTo>
                <a:lnTo>
                  <a:pt x="1648" y="1864"/>
                </a:lnTo>
                <a:lnTo>
                  <a:pt x="1661" y="1858"/>
                </a:lnTo>
                <a:lnTo>
                  <a:pt x="1669" y="1849"/>
                </a:lnTo>
                <a:lnTo>
                  <a:pt x="1673" y="1836"/>
                </a:lnTo>
                <a:lnTo>
                  <a:pt x="1679" y="1831"/>
                </a:lnTo>
                <a:lnTo>
                  <a:pt x="1702" y="1829"/>
                </a:lnTo>
                <a:lnTo>
                  <a:pt x="1709" y="1827"/>
                </a:lnTo>
                <a:lnTo>
                  <a:pt x="1704" y="1814"/>
                </a:lnTo>
                <a:lnTo>
                  <a:pt x="1700" y="1801"/>
                </a:lnTo>
                <a:lnTo>
                  <a:pt x="1700" y="1786"/>
                </a:lnTo>
                <a:lnTo>
                  <a:pt x="1704" y="1784"/>
                </a:lnTo>
                <a:lnTo>
                  <a:pt x="1706" y="1784"/>
                </a:lnTo>
                <a:lnTo>
                  <a:pt x="1713" y="1795"/>
                </a:lnTo>
                <a:lnTo>
                  <a:pt x="1718" y="1800"/>
                </a:lnTo>
                <a:lnTo>
                  <a:pt x="1717" y="1801"/>
                </a:lnTo>
                <a:lnTo>
                  <a:pt x="1742" y="1793"/>
                </a:lnTo>
                <a:lnTo>
                  <a:pt x="1751" y="1793"/>
                </a:lnTo>
                <a:lnTo>
                  <a:pt x="1750" y="1795"/>
                </a:lnTo>
                <a:lnTo>
                  <a:pt x="1757" y="1788"/>
                </a:lnTo>
                <a:lnTo>
                  <a:pt x="1770" y="1781"/>
                </a:lnTo>
                <a:lnTo>
                  <a:pt x="1781" y="1779"/>
                </a:lnTo>
                <a:lnTo>
                  <a:pt x="1803" y="1772"/>
                </a:lnTo>
                <a:lnTo>
                  <a:pt x="1827" y="1762"/>
                </a:lnTo>
                <a:lnTo>
                  <a:pt x="1840" y="1758"/>
                </a:lnTo>
                <a:lnTo>
                  <a:pt x="1848" y="1750"/>
                </a:lnTo>
                <a:lnTo>
                  <a:pt x="1853" y="1736"/>
                </a:lnTo>
                <a:lnTo>
                  <a:pt x="1858" y="1730"/>
                </a:lnTo>
                <a:lnTo>
                  <a:pt x="1859" y="1727"/>
                </a:lnTo>
                <a:lnTo>
                  <a:pt x="1872" y="1720"/>
                </a:lnTo>
                <a:lnTo>
                  <a:pt x="1880" y="1712"/>
                </a:lnTo>
                <a:lnTo>
                  <a:pt x="1884" y="1702"/>
                </a:lnTo>
                <a:lnTo>
                  <a:pt x="1887" y="1699"/>
                </a:lnTo>
                <a:lnTo>
                  <a:pt x="1898" y="1691"/>
                </a:lnTo>
                <a:lnTo>
                  <a:pt x="1910" y="1689"/>
                </a:lnTo>
                <a:lnTo>
                  <a:pt x="1912" y="1686"/>
                </a:lnTo>
                <a:lnTo>
                  <a:pt x="1908" y="1662"/>
                </a:lnTo>
                <a:lnTo>
                  <a:pt x="1916" y="1652"/>
                </a:lnTo>
                <a:lnTo>
                  <a:pt x="1925" y="1638"/>
                </a:lnTo>
                <a:lnTo>
                  <a:pt x="1936" y="1622"/>
                </a:lnTo>
                <a:lnTo>
                  <a:pt x="1945" y="1614"/>
                </a:lnTo>
                <a:lnTo>
                  <a:pt x="1959" y="1599"/>
                </a:lnTo>
                <a:lnTo>
                  <a:pt x="1964" y="1583"/>
                </a:lnTo>
                <a:lnTo>
                  <a:pt x="1971" y="1575"/>
                </a:lnTo>
                <a:lnTo>
                  <a:pt x="1975" y="1563"/>
                </a:lnTo>
                <a:lnTo>
                  <a:pt x="1978" y="1546"/>
                </a:lnTo>
                <a:lnTo>
                  <a:pt x="1976" y="1533"/>
                </a:lnTo>
                <a:lnTo>
                  <a:pt x="1966" y="1525"/>
                </a:lnTo>
                <a:lnTo>
                  <a:pt x="1966" y="1509"/>
                </a:lnTo>
                <a:lnTo>
                  <a:pt x="1976" y="1509"/>
                </a:lnTo>
                <a:lnTo>
                  <a:pt x="1981" y="1511"/>
                </a:lnTo>
                <a:lnTo>
                  <a:pt x="1988" y="1509"/>
                </a:lnTo>
                <a:lnTo>
                  <a:pt x="1985" y="1493"/>
                </a:lnTo>
                <a:lnTo>
                  <a:pt x="1985" y="1480"/>
                </a:lnTo>
                <a:lnTo>
                  <a:pt x="1999" y="1476"/>
                </a:lnTo>
                <a:lnTo>
                  <a:pt x="1999" y="1454"/>
                </a:lnTo>
                <a:lnTo>
                  <a:pt x="1992" y="1443"/>
                </a:lnTo>
                <a:lnTo>
                  <a:pt x="1991" y="1440"/>
                </a:lnTo>
                <a:lnTo>
                  <a:pt x="1991" y="1432"/>
                </a:lnTo>
                <a:lnTo>
                  <a:pt x="1998" y="1423"/>
                </a:lnTo>
                <a:lnTo>
                  <a:pt x="2010" y="1410"/>
                </a:lnTo>
                <a:lnTo>
                  <a:pt x="2020" y="1400"/>
                </a:lnTo>
                <a:lnTo>
                  <a:pt x="2024" y="1395"/>
                </a:lnTo>
                <a:lnTo>
                  <a:pt x="2025" y="1379"/>
                </a:lnTo>
                <a:lnTo>
                  <a:pt x="2021" y="1367"/>
                </a:lnTo>
                <a:lnTo>
                  <a:pt x="2017" y="1349"/>
                </a:lnTo>
                <a:lnTo>
                  <a:pt x="2022" y="1344"/>
                </a:lnTo>
                <a:lnTo>
                  <a:pt x="2033" y="1342"/>
                </a:lnTo>
                <a:lnTo>
                  <a:pt x="2039" y="1339"/>
                </a:lnTo>
                <a:lnTo>
                  <a:pt x="2034" y="1330"/>
                </a:lnTo>
                <a:lnTo>
                  <a:pt x="2027" y="1324"/>
                </a:lnTo>
                <a:lnTo>
                  <a:pt x="2015" y="1325"/>
                </a:lnTo>
                <a:lnTo>
                  <a:pt x="2013" y="1325"/>
                </a:lnTo>
                <a:lnTo>
                  <a:pt x="2010" y="1323"/>
                </a:lnTo>
                <a:lnTo>
                  <a:pt x="2018" y="1318"/>
                </a:lnTo>
                <a:lnTo>
                  <a:pt x="2031" y="1311"/>
                </a:lnTo>
                <a:lnTo>
                  <a:pt x="2034" y="1309"/>
                </a:lnTo>
                <a:lnTo>
                  <a:pt x="2035" y="1307"/>
                </a:lnTo>
                <a:lnTo>
                  <a:pt x="2032" y="1297"/>
                </a:lnTo>
                <a:lnTo>
                  <a:pt x="2024" y="1295"/>
                </a:lnTo>
                <a:lnTo>
                  <a:pt x="2022" y="1294"/>
                </a:lnTo>
                <a:lnTo>
                  <a:pt x="2006" y="1298"/>
                </a:lnTo>
                <a:lnTo>
                  <a:pt x="1997" y="1293"/>
                </a:lnTo>
                <a:lnTo>
                  <a:pt x="1985" y="1297"/>
                </a:lnTo>
                <a:lnTo>
                  <a:pt x="1969" y="1300"/>
                </a:lnTo>
                <a:lnTo>
                  <a:pt x="1951" y="1302"/>
                </a:lnTo>
                <a:lnTo>
                  <a:pt x="1957" y="1296"/>
                </a:lnTo>
                <a:lnTo>
                  <a:pt x="1962" y="1292"/>
                </a:lnTo>
                <a:lnTo>
                  <a:pt x="1974" y="1288"/>
                </a:lnTo>
                <a:lnTo>
                  <a:pt x="1984" y="1287"/>
                </a:lnTo>
                <a:lnTo>
                  <a:pt x="1985" y="1264"/>
                </a:lnTo>
                <a:lnTo>
                  <a:pt x="1990" y="1253"/>
                </a:lnTo>
                <a:lnTo>
                  <a:pt x="2005" y="1241"/>
                </a:lnTo>
                <a:lnTo>
                  <a:pt x="2005" y="1231"/>
                </a:lnTo>
                <a:lnTo>
                  <a:pt x="2002" y="1228"/>
                </a:lnTo>
                <a:lnTo>
                  <a:pt x="1992" y="1219"/>
                </a:lnTo>
                <a:lnTo>
                  <a:pt x="1970" y="1216"/>
                </a:lnTo>
                <a:lnTo>
                  <a:pt x="1948" y="1207"/>
                </a:lnTo>
                <a:lnTo>
                  <a:pt x="1937" y="1206"/>
                </a:lnTo>
                <a:lnTo>
                  <a:pt x="1932" y="1201"/>
                </a:lnTo>
                <a:lnTo>
                  <a:pt x="1937" y="1196"/>
                </a:lnTo>
                <a:lnTo>
                  <a:pt x="1951" y="1200"/>
                </a:lnTo>
                <a:lnTo>
                  <a:pt x="1959" y="1200"/>
                </a:lnTo>
                <a:lnTo>
                  <a:pt x="1973" y="1195"/>
                </a:lnTo>
                <a:lnTo>
                  <a:pt x="1983" y="1187"/>
                </a:lnTo>
                <a:lnTo>
                  <a:pt x="1968" y="1176"/>
                </a:lnTo>
                <a:lnTo>
                  <a:pt x="1947" y="1161"/>
                </a:lnTo>
                <a:lnTo>
                  <a:pt x="1934" y="1160"/>
                </a:lnTo>
                <a:lnTo>
                  <a:pt x="1917" y="1144"/>
                </a:lnTo>
                <a:lnTo>
                  <a:pt x="1906" y="1139"/>
                </a:lnTo>
                <a:lnTo>
                  <a:pt x="1896" y="1119"/>
                </a:lnTo>
                <a:lnTo>
                  <a:pt x="1883" y="1107"/>
                </a:lnTo>
                <a:lnTo>
                  <a:pt x="1867" y="1107"/>
                </a:lnTo>
                <a:lnTo>
                  <a:pt x="1864" y="1104"/>
                </a:lnTo>
                <a:lnTo>
                  <a:pt x="1865" y="1091"/>
                </a:lnTo>
                <a:lnTo>
                  <a:pt x="1859" y="1086"/>
                </a:lnTo>
                <a:lnTo>
                  <a:pt x="1842" y="1085"/>
                </a:lnTo>
                <a:lnTo>
                  <a:pt x="1831" y="1077"/>
                </a:lnTo>
                <a:lnTo>
                  <a:pt x="1826" y="1070"/>
                </a:lnTo>
                <a:lnTo>
                  <a:pt x="1824" y="1057"/>
                </a:lnTo>
                <a:lnTo>
                  <a:pt x="1827" y="1041"/>
                </a:lnTo>
                <a:lnTo>
                  <a:pt x="1830" y="1029"/>
                </a:lnTo>
                <a:lnTo>
                  <a:pt x="1838" y="1020"/>
                </a:lnTo>
                <a:lnTo>
                  <a:pt x="1843" y="1009"/>
                </a:lnTo>
                <a:lnTo>
                  <a:pt x="1844" y="982"/>
                </a:lnTo>
                <a:lnTo>
                  <a:pt x="1863" y="983"/>
                </a:lnTo>
                <a:lnTo>
                  <a:pt x="1866" y="973"/>
                </a:lnTo>
                <a:lnTo>
                  <a:pt x="1864" y="959"/>
                </a:lnTo>
                <a:lnTo>
                  <a:pt x="1875" y="938"/>
                </a:lnTo>
                <a:lnTo>
                  <a:pt x="1890" y="931"/>
                </a:lnTo>
                <a:lnTo>
                  <a:pt x="1908" y="931"/>
                </a:lnTo>
                <a:lnTo>
                  <a:pt x="1908" y="920"/>
                </a:lnTo>
                <a:lnTo>
                  <a:pt x="1914" y="915"/>
                </a:lnTo>
                <a:lnTo>
                  <a:pt x="1928" y="913"/>
                </a:lnTo>
                <a:lnTo>
                  <a:pt x="1934" y="909"/>
                </a:lnTo>
                <a:lnTo>
                  <a:pt x="1935" y="885"/>
                </a:lnTo>
                <a:lnTo>
                  <a:pt x="1932" y="882"/>
                </a:lnTo>
                <a:lnTo>
                  <a:pt x="1891" y="881"/>
                </a:lnTo>
                <a:lnTo>
                  <a:pt x="1880" y="886"/>
                </a:lnTo>
                <a:lnTo>
                  <a:pt x="1830" y="889"/>
                </a:lnTo>
                <a:lnTo>
                  <a:pt x="1815" y="905"/>
                </a:lnTo>
                <a:lnTo>
                  <a:pt x="1807" y="915"/>
                </a:lnTo>
                <a:lnTo>
                  <a:pt x="1807" y="926"/>
                </a:lnTo>
                <a:lnTo>
                  <a:pt x="1792" y="935"/>
                </a:lnTo>
                <a:lnTo>
                  <a:pt x="1780" y="941"/>
                </a:lnTo>
                <a:lnTo>
                  <a:pt x="1771" y="940"/>
                </a:lnTo>
                <a:lnTo>
                  <a:pt x="1761" y="926"/>
                </a:lnTo>
                <a:lnTo>
                  <a:pt x="1752" y="915"/>
                </a:lnTo>
                <a:lnTo>
                  <a:pt x="1747" y="910"/>
                </a:lnTo>
                <a:lnTo>
                  <a:pt x="1736" y="905"/>
                </a:lnTo>
                <a:lnTo>
                  <a:pt x="1714" y="897"/>
                </a:lnTo>
                <a:lnTo>
                  <a:pt x="1703" y="890"/>
                </a:lnTo>
                <a:lnTo>
                  <a:pt x="1693" y="887"/>
                </a:lnTo>
                <a:lnTo>
                  <a:pt x="1687" y="882"/>
                </a:lnTo>
                <a:lnTo>
                  <a:pt x="1691" y="859"/>
                </a:lnTo>
                <a:lnTo>
                  <a:pt x="1702" y="852"/>
                </a:lnTo>
                <a:lnTo>
                  <a:pt x="1716" y="840"/>
                </a:lnTo>
                <a:lnTo>
                  <a:pt x="1727" y="838"/>
                </a:lnTo>
                <a:lnTo>
                  <a:pt x="1739" y="830"/>
                </a:lnTo>
                <a:lnTo>
                  <a:pt x="1747" y="821"/>
                </a:lnTo>
                <a:lnTo>
                  <a:pt x="1751" y="796"/>
                </a:lnTo>
                <a:lnTo>
                  <a:pt x="1755" y="782"/>
                </a:lnTo>
                <a:lnTo>
                  <a:pt x="1763" y="770"/>
                </a:lnTo>
                <a:lnTo>
                  <a:pt x="1768" y="760"/>
                </a:lnTo>
                <a:lnTo>
                  <a:pt x="1771" y="750"/>
                </a:lnTo>
                <a:lnTo>
                  <a:pt x="1780" y="738"/>
                </a:lnTo>
                <a:lnTo>
                  <a:pt x="1788" y="727"/>
                </a:lnTo>
                <a:lnTo>
                  <a:pt x="1788" y="713"/>
                </a:lnTo>
                <a:lnTo>
                  <a:pt x="1807" y="701"/>
                </a:lnTo>
                <a:lnTo>
                  <a:pt x="1844" y="711"/>
                </a:lnTo>
                <a:lnTo>
                  <a:pt x="1853" y="721"/>
                </a:lnTo>
                <a:lnTo>
                  <a:pt x="1848" y="737"/>
                </a:lnTo>
                <a:lnTo>
                  <a:pt x="1837" y="757"/>
                </a:lnTo>
                <a:lnTo>
                  <a:pt x="1834" y="779"/>
                </a:lnTo>
                <a:lnTo>
                  <a:pt x="1835" y="796"/>
                </a:lnTo>
                <a:lnTo>
                  <a:pt x="1846" y="799"/>
                </a:lnTo>
                <a:lnTo>
                  <a:pt x="1850" y="800"/>
                </a:lnTo>
                <a:lnTo>
                  <a:pt x="1850" y="806"/>
                </a:lnTo>
                <a:lnTo>
                  <a:pt x="1840" y="818"/>
                </a:lnTo>
                <a:lnTo>
                  <a:pt x="1840" y="829"/>
                </a:lnTo>
                <a:lnTo>
                  <a:pt x="1851" y="829"/>
                </a:lnTo>
                <a:lnTo>
                  <a:pt x="1861" y="825"/>
                </a:lnTo>
                <a:lnTo>
                  <a:pt x="1868" y="819"/>
                </a:lnTo>
                <a:lnTo>
                  <a:pt x="1872" y="804"/>
                </a:lnTo>
                <a:lnTo>
                  <a:pt x="1878" y="793"/>
                </a:lnTo>
                <a:lnTo>
                  <a:pt x="1892" y="781"/>
                </a:lnTo>
                <a:lnTo>
                  <a:pt x="1909" y="759"/>
                </a:lnTo>
                <a:lnTo>
                  <a:pt x="1924" y="751"/>
                </a:lnTo>
                <a:lnTo>
                  <a:pt x="1943" y="743"/>
                </a:lnTo>
                <a:lnTo>
                  <a:pt x="1956" y="735"/>
                </a:lnTo>
                <a:lnTo>
                  <a:pt x="1957" y="735"/>
                </a:lnTo>
                <a:lnTo>
                  <a:pt x="1960" y="710"/>
                </a:lnTo>
                <a:lnTo>
                  <a:pt x="1966" y="696"/>
                </a:lnTo>
                <a:lnTo>
                  <a:pt x="1972" y="684"/>
                </a:lnTo>
                <a:lnTo>
                  <a:pt x="1977" y="668"/>
                </a:lnTo>
                <a:lnTo>
                  <a:pt x="1979" y="656"/>
                </a:lnTo>
                <a:lnTo>
                  <a:pt x="1986" y="645"/>
                </a:lnTo>
                <a:lnTo>
                  <a:pt x="1994" y="639"/>
                </a:lnTo>
                <a:lnTo>
                  <a:pt x="2011" y="636"/>
                </a:lnTo>
                <a:lnTo>
                  <a:pt x="2024" y="635"/>
                </a:lnTo>
                <a:lnTo>
                  <a:pt x="2039" y="633"/>
                </a:lnTo>
                <a:lnTo>
                  <a:pt x="2049" y="629"/>
                </a:lnTo>
                <a:lnTo>
                  <a:pt x="2046" y="621"/>
                </a:lnTo>
                <a:lnTo>
                  <a:pt x="2041" y="611"/>
                </a:lnTo>
                <a:lnTo>
                  <a:pt x="2032" y="606"/>
                </a:lnTo>
                <a:lnTo>
                  <a:pt x="2048" y="596"/>
                </a:lnTo>
                <a:lnTo>
                  <a:pt x="2062" y="581"/>
                </a:lnTo>
                <a:lnTo>
                  <a:pt x="2073" y="561"/>
                </a:lnTo>
                <a:lnTo>
                  <a:pt x="2071" y="546"/>
                </a:lnTo>
                <a:lnTo>
                  <a:pt x="2069" y="533"/>
                </a:lnTo>
                <a:lnTo>
                  <a:pt x="2074" y="517"/>
                </a:lnTo>
                <a:lnTo>
                  <a:pt x="2086" y="491"/>
                </a:lnTo>
                <a:lnTo>
                  <a:pt x="2098" y="476"/>
                </a:lnTo>
                <a:lnTo>
                  <a:pt x="2111" y="459"/>
                </a:lnTo>
                <a:lnTo>
                  <a:pt x="2119" y="448"/>
                </a:lnTo>
                <a:lnTo>
                  <a:pt x="2124" y="435"/>
                </a:lnTo>
                <a:lnTo>
                  <a:pt x="2129" y="413"/>
                </a:lnTo>
                <a:lnTo>
                  <a:pt x="2133" y="391"/>
                </a:lnTo>
                <a:lnTo>
                  <a:pt x="2130" y="391"/>
                </a:lnTo>
                <a:lnTo>
                  <a:pt x="2118" y="374"/>
                </a:lnTo>
                <a:lnTo>
                  <a:pt x="2112" y="364"/>
                </a:lnTo>
                <a:lnTo>
                  <a:pt x="2110" y="350"/>
                </a:lnTo>
                <a:lnTo>
                  <a:pt x="2114" y="334"/>
                </a:lnTo>
                <a:lnTo>
                  <a:pt x="2125" y="327"/>
                </a:lnTo>
                <a:lnTo>
                  <a:pt x="2135" y="322"/>
                </a:lnTo>
                <a:lnTo>
                  <a:pt x="2156" y="305"/>
                </a:lnTo>
                <a:lnTo>
                  <a:pt x="2167" y="297"/>
                </a:lnTo>
                <a:lnTo>
                  <a:pt x="2173" y="287"/>
                </a:lnTo>
                <a:lnTo>
                  <a:pt x="2176" y="274"/>
                </a:lnTo>
                <a:lnTo>
                  <a:pt x="2174" y="260"/>
                </a:lnTo>
                <a:lnTo>
                  <a:pt x="2175" y="247"/>
                </a:lnTo>
                <a:lnTo>
                  <a:pt x="2169" y="237"/>
                </a:lnTo>
                <a:lnTo>
                  <a:pt x="2167" y="224"/>
                </a:lnTo>
                <a:lnTo>
                  <a:pt x="2150" y="208"/>
                </a:lnTo>
                <a:lnTo>
                  <a:pt x="2146" y="191"/>
                </a:lnTo>
                <a:lnTo>
                  <a:pt x="2140" y="180"/>
                </a:lnTo>
                <a:lnTo>
                  <a:pt x="2143" y="170"/>
                </a:lnTo>
                <a:lnTo>
                  <a:pt x="2147" y="155"/>
                </a:lnTo>
                <a:lnTo>
                  <a:pt x="2144" y="141"/>
                </a:lnTo>
                <a:lnTo>
                  <a:pt x="2145" y="130"/>
                </a:lnTo>
                <a:lnTo>
                  <a:pt x="2136" y="111"/>
                </a:lnTo>
                <a:lnTo>
                  <a:pt x="2119" y="92"/>
                </a:lnTo>
                <a:lnTo>
                  <a:pt x="2108" y="103"/>
                </a:lnTo>
                <a:lnTo>
                  <a:pt x="2096" y="109"/>
                </a:lnTo>
                <a:lnTo>
                  <a:pt x="2054" y="149"/>
                </a:lnTo>
                <a:lnTo>
                  <a:pt x="2048" y="160"/>
                </a:lnTo>
                <a:lnTo>
                  <a:pt x="2031" y="174"/>
                </a:lnTo>
                <a:lnTo>
                  <a:pt x="1995" y="165"/>
                </a:lnTo>
                <a:lnTo>
                  <a:pt x="1985" y="154"/>
                </a:lnTo>
                <a:lnTo>
                  <a:pt x="1964" y="143"/>
                </a:lnTo>
                <a:lnTo>
                  <a:pt x="1949" y="137"/>
                </a:lnTo>
                <a:lnTo>
                  <a:pt x="1938" y="134"/>
                </a:lnTo>
                <a:lnTo>
                  <a:pt x="1903" y="133"/>
                </a:lnTo>
                <a:lnTo>
                  <a:pt x="1890" y="135"/>
                </a:lnTo>
                <a:lnTo>
                  <a:pt x="1873" y="137"/>
                </a:lnTo>
                <a:lnTo>
                  <a:pt x="1854" y="136"/>
                </a:lnTo>
                <a:lnTo>
                  <a:pt x="1842" y="130"/>
                </a:lnTo>
                <a:lnTo>
                  <a:pt x="1830" y="122"/>
                </a:lnTo>
                <a:lnTo>
                  <a:pt x="1819" y="113"/>
                </a:lnTo>
                <a:lnTo>
                  <a:pt x="1812" y="107"/>
                </a:lnTo>
                <a:lnTo>
                  <a:pt x="1803" y="94"/>
                </a:lnTo>
                <a:lnTo>
                  <a:pt x="1797" y="84"/>
                </a:lnTo>
                <a:lnTo>
                  <a:pt x="1791" y="70"/>
                </a:lnTo>
                <a:lnTo>
                  <a:pt x="1774" y="49"/>
                </a:lnTo>
                <a:lnTo>
                  <a:pt x="1758" y="34"/>
                </a:lnTo>
                <a:lnTo>
                  <a:pt x="1748" y="32"/>
                </a:lnTo>
                <a:lnTo>
                  <a:pt x="1725" y="15"/>
                </a:lnTo>
                <a:lnTo>
                  <a:pt x="1698" y="3"/>
                </a:lnTo>
                <a:lnTo>
                  <a:pt x="1688" y="3"/>
                </a:lnTo>
                <a:lnTo>
                  <a:pt x="1660" y="0"/>
                </a:lnTo>
                <a:lnTo>
                  <a:pt x="1650" y="0"/>
                </a:lnTo>
                <a:lnTo>
                  <a:pt x="1647" y="2"/>
                </a:lnTo>
                <a:lnTo>
                  <a:pt x="1636" y="1"/>
                </a:lnTo>
                <a:lnTo>
                  <a:pt x="1621" y="12"/>
                </a:lnTo>
                <a:lnTo>
                  <a:pt x="1605" y="16"/>
                </a:lnTo>
                <a:lnTo>
                  <a:pt x="1591" y="19"/>
                </a:lnTo>
                <a:lnTo>
                  <a:pt x="1581" y="23"/>
                </a:lnTo>
                <a:lnTo>
                  <a:pt x="1565" y="26"/>
                </a:lnTo>
                <a:lnTo>
                  <a:pt x="1552" y="32"/>
                </a:lnTo>
                <a:lnTo>
                  <a:pt x="1535" y="43"/>
                </a:lnTo>
                <a:lnTo>
                  <a:pt x="1523" y="48"/>
                </a:lnTo>
                <a:lnTo>
                  <a:pt x="1522" y="55"/>
                </a:lnTo>
                <a:lnTo>
                  <a:pt x="1522" y="66"/>
                </a:lnTo>
                <a:lnTo>
                  <a:pt x="1531" y="77"/>
                </a:lnTo>
                <a:lnTo>
                  <a:pt x="1542" y="88"/>
                </a:lnTo>
                <a:lnTo>
                  <a:pt x="1544" y="106"/>
                </a:lnTo>
                <a:lnTo>
                  <a:pt x="1541" y="117"/>
                </a:lnTo>
                <a:lnTo>
                  <a:pt x="1543" y="134"/>
                </a:lnTo>
                <a:lnTo>
                  <a:pt x="1545" y="154"/>
                </a:lnTo>
                <a:lnTo>
                  <a:pt x="1538" y="192"/>
                </a:lnTo>
                <a:lnTo>
                  <a:pt x="1540" y="217"/>
                </a:lnTo>
                <a:lnTo>
                  <a:pt x="1537" y="228"/>
                </a:lnTo>
                <a:lnTo>
                  <a:pt x="1525" y="247"/>
                </a:lnTo>
                <a:lnTo>
                  <a:pt x="1522" y="280"/>
                </a:lnTo>
                <a:lnTo>
                  <a:pt x="1510" y="293"/>
                </a:lnTo>
                <a:lnTo>
                  <a:pt x="1508" y="293"/>
                </a:lnTo>
                <a:lnTo>
                  <a:pt x="1497" y="291"/>
                </a:lnTo>
                <a:lnTo>
                  <a:pt x="1469" y="279"/>
                </a:lnTo>
                <a:lnTo>
                  <a:pt x="1471" y="281"/>
                </a:lnTo>
                <a:lnTo>
                  <a:pt x="1472" y="281"/>
                </a:lnTo>
                <a:lnTo>
                  <a:pt x="1464" y="328"/>
                </a:lnTo>
                <a:lnTo>
                  <a:pt x="1461" y="342"/>
                </a:lnTo>
                <a:lnTo>
                  <a:pt x="1454" y="356"/>
                </a:lnTo>
                <a:lnTo>
                  <a:pt x="1451" y="370"/>
                </a:lnTo>
                <a:lnTo>
                  <a:pt x="1450" y="383"/>
                </a:lnTo>
                <a:lnTo>
                  <a:pt x="1450" y="397"/>
                </a:lnTo>
                <a:lnTo>
                  <a:pt x="1452" y="412"/>
                </a:lnTo>
                <a:lnTo>
                  <a:pt x="1462" y="420"/>
                </a:lnTo>
                <a:lnTo>
                  <a:pt x="1475" y="426"/>
                </a:lnTo>
                <a:lnTo>
                  <a:pt x="1483" y="427"/>
                </a:lnTo>
                <a:lnTo>
                  <a:pt x="1489" y="426"/>
                </a:lnTo>
                <a:lnTo>
                  <a:pt x="1503" y="424"/>
                </a:lnTo>
                <a:lnTo>
                  <a:pt x="1519" y="414"/>
                </a:lnTo>
                <a:lnTo>
                  <a:pt x="1530" y="400"/>
                </a:lnTo>
                <a:lnTo>
                  <a:pt x="1539" y="389"/>
                </a:lnTo>
                <a:lnTo>
                  <a:pt x="1549" y="387"/>
                </a:lnTo>
                <a:lnTo>
                  <a:pt x="1568" y="397"/>
                </a:lnTo>
                <a:lnTo>
                  <a:pt x="1579" y="401"/>
                </a:lnTo>
                <a:lnTo>
                  <a:pt x="1595" y="413"/>
                </a:lnTo>
                <a:lnTo>
                  <a:pt x="1606" y="417"/>
                </a:lnTo>
                <a:lnTo>
                  <a:pt x="1621" y="434"/>
                </a:lnTo>
                <a:lnTo>
                  <a:pt x="1622" y="446"/>
                </a:lnTo>
                <a:lnTo>
                  <a:pt x="1311" y="781"/>
                </a:lnTo>
              </a:path>
            </a:pathLst>
          </a:custGeom>
          <a:solidFill>
            <a:schemeClr val="accent2"/>
          </a:solidFill>
          <a:ln>
            <a:noFill/>
          </a:ln>
          <a:extLst>
            <a:ext uri="{91240B29-F687-4F45-9708-019B960494DF}">
              <a14:hiddenLine xmlns:a14="http://schemas.microsoft.com/office/drawing/2010/main" w="12700" cap="rnd" cmpd="sng">
                <a:solidFill>
                  <a:schemeClr val="tx2"/>
                </a:solidFill>
                <a:prstDash val="solid"/>
                <a:round/>
                <a:headEnd/>
                <a:tailEnd/>
              </a14:hiddenLine>
            </a:ext>
          </a:extLst>
        </p:spPr>
        <p:txBody>
          <a:bodyPr/>
          <a:lstStyle/>
          <a:p>
            <a:pPr defTabSz="609539"/>
            <a:endParaRPr lang="en-US" sz="2399">
              <a:solidFill>
                <a:srgbClr val="000000"/>
              </a:solidFill>
            </a:endParaRPr>
          </a:p>
        </p:txBody>
      </p:sp>
      <p:sp>
        <p:nvSpPr>
          <p:cNvPr id="31" name="Freeform 31">
            <a:extLst>
              <a:ext uri="{FF2B5EF4-FFF2-40B4-BE49-F238E27FC236}">
                <a16:creationId xmlns:a16="http://schemas.microsoft.com/office/drawing/2014/main" id="{9CCA3C7E-2D93-4764-A595-008122CC2B2E}"/>
              </a:ext>
            </a:extLst>
          </p:cNvPr>
          <p:cNvSpPr>
            <a:spLocks/>
          </p:cNvSpPr>
          <p:nvPr>
            <p:custDataLst>
              <p:tags r:id="rId24"/>
            </p:custDataLst>
          </p:nvPr>
        </p:nvSpPr>
        <p:spPr bwMode="auto">
          <a:xfrm rot="120000">
            <a:off x="10094783" y="2902684"/>
            <a:ext cx="133346" cy="334954"/>
          </a:xfrm>
          <a:custGeom>
            <a:avLst/>
            <a:gdLst>
              <a:gd name="T0" fmla="*/ 56 w 82"/>
              <a:gd name="T1" fmla="*/ 0 h 206"/>
              <a:gd name="T2" fmla="*/ 69 w 82"/>
              <a:gd name="T3" fmla="*/ 6 h 206"/>
              <a:gd name="T4" fmla="*/ 75 w 82"/>
              <a:gd name="T5" fmla="*/ 8 h 206"/>
              <a:gd name="T6" fmla="*/ 78 w 82"/>
              <a:gd name="T7" fmla="*/ 14 h 206"/>
              <a:gd name="T8" fmla="*/ 79 w 82"/>
              <a:gd name="T9" fmla="*/ 27 h 206"/>
              <a:gd name="T10" fmla="*/ 82 w 82"/>
              <a:gd name="T11" fmla="*/ 38 h 206"/>
              <a:gd name="T12" fmla="*/ 79 w 82"/>
              <a:gd name="T13" fmla="*/ 53 h 206"/>
              <a:gd name="T14" fmla="*/ 75 w 82"/>
              <a:gd name="T15" fmla="*/ 66 h 206"/>
              <a:gd name="T16" fmla="*/ 72 w 82"/>
              <a:gd name="T17" fmla="*/ 78 h 206"/>
              <a:gd name="T18" fmla="*/ 79 w 82"/>
              <a:gd name="T19" fmla="*/ 89 h 206"/>
              <a:gd name="T20" fmla="*/ 82 w 82"/>
              <a:gd name="T21" fmla="*/ 100 h 206"/>
              <a:gd name="T22" fmla="*/ 82 w 82"/>
              <a:gd name="T23" fmla="*/ 136 h 206"/>
              <a:gd name="T24" fmla="*/ 66 w 82"/>
              <a:gd name="T25" fmla="*/ 167 h 206"/>
              <a:gd name="T26" fmla="*/ 66 w 82"/>
              <a:gd name="T27" fmla="*/ 169 h 206"/>
              <a:gd name="T28" fmla="*/ 72 w 82"/>
              <a:gd name="T29" fmla="*/ 179 h 206"/>
              <a:gd name="T30" fmla="*/ 75 w 82"/>
              <a:gd name="T31" fmla="*/ 187 h 206"/>
              <a:gd name="T32" fmla="*/ 66 w 82"/>
              <a:gd name="T33" fmla="*/ 204 h 206"/>
              <a:gd name="T34" fmla="*/ 58 w 82"/>
              <a:gd name="T35" fmla="*/ 206 h 206"/>
              <a:gd name="T36" fmla="*/ 51 w 82"/>
              <a:gd name="T37" fmla="*/ 201 h 206"/>
              <a:gd name="T38" fmla="*/ 45 w 82"/>
              <a:gd name="T39" fmla="*/ 190 h 206"/>
              <a:gd name="T40" fmla="*/ 35 w 82"/>
              <a:gd name="T41" fmla="*/ 175 h 206"/>
              <a:gd name="T42" fmla="*/ 24 w 82"/>
              <a:gd name="T43" fmla="*/ 164 h 206"/>
              <a:gd name="T44" fmla="*/ 16 w 82"/>
              <a:gd name="T45" fmla="*/ 154 h 206"/>
              <a:gd name="T46" fmla="*/ 11 w 82"/>
              <a:gd name="T47" fmla="*/ 144 h 206"/>
              <a:gd name="T48" fmla="*/ 3 w 82"/>
              <a:gd name="T49" fmla="*/ 133 h 206"/>
              <a:gd name="T50" fmla="*/ 0 w 82"/>
              <a:gd name="T51" fmla="*/ 123 h 206"/>
              <a:gd name="T52" fmla="*/ 3 w 82"/>
              <a:gd name="T53" fmla="*/ 102 h 206"/>
              <a:gd name="T54" fmla="*/ 5 w 82"/>
              <a:gd name="T55" fmla="*/ 86 h 206"/>
              <a:gd name="T56" fmla="*/ 5 w 82"/>
              <a:gd name="T57" fmla="*/ 74 h 206"/>
              <a:gd name="T58" fmla="*/ 8 w 82"/>
              <a:gd name="T59" fmla="*/ 58 h 206"/>
              <a:gd name="T60" fmla="*/ 19 w 82"/>
              <a:gd name="T61" fmla="*/ 38 h 206"/>
              <a:gd name="T62" fmla="*/ 27 w 82"/>
              <a:gd name="T63" fmla="*/ 27 h 206"/>
              <a:gd name="T64" fmla="*/ 29 w 82"/>
              <a:gd name="T65" fmla="*/ 16 h 206"/>
              <a:gd name="T66" fmla="*/ 35 w 82"/>
              <a:gd name="T67" fmla="*/ 11 h 206"/>
              <a:gd name="T68" fmla="*/ 45 w 82"/>
              <a:gd name="T69" fmla="*/ 6 h 206"/>
              <a:gd name="T70" fmla="*/ 56 w 82"/>
              <a:gd name="T71" fmla="*/ 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2" h="206">
                <a:moveTo>
                  <a:pt x="56" y="0"/>
                </a:moveTo>
                <a:lnTo>
                  <a:pt x="69" y="6"/>
                </a:lnTo>
                <a:lnTo>
                  <a:pt x="75" y="8"/>
                </a:lnTo>
                <a:lnTo>
                  <a:pt x="78" y="14"/>
                </a:lnTo>
                <a:lnTo>
                  <a:pt x="79" y="27"/>
                </a:lnTo>
                <a:lnTo>
                  <a:pt x="82" y="38"/>
                </a:lnTo>
                <a:lnTo>
                  <a:pt x="79" y="53"/>
                </a:lnTo>
                <a:lnTo>
                  <a:pt x="75" y="66"/>
                </a:lnTo>
                <a:lnTo>
                  <a:pt x="72" y="78"/>
                </a:lnTo>
                <a:lnTo>
                  <a:pt x="79" y="89"/>
                </a:lnTo>
                <a:lnTo>
                  <a:pt x="82" y="100"/>
                </a:lnTo>
                <a:lnTo>
                  <a:pt x="82" y="136"/>
                </a:lnTo>
                <a:lnTo>
                  <a:pt x="66" y="167"/>
                </a:lnTo>
                <a:lnTo>
                  <a:pt x="66" y="169"/>
                </a:lnTo>
                <a:lnTo>
                  <a:pt x="72" y="179"/>
                </a:lnTo>
                <a:lnTo>
                  <a:pt x="75" y="187"/>
                </a:lnTo>
                <a:lnTo>
                  <a:pt x="66" y="204"/>
                </a:lnTo>
                <a:lnTo>
                  <a:pt x="58" y="206"/>
                </a:lnTo>
                <a:lnTo>
                  <a:pt x="51" y="201"/>
                </a:lnTo>
                <a:lnTo>
                  <a:pt x="45" y="190"/>
                </a:lnTo>
                <a:lnTo>
                  <a:pt x="35" y="175"/>
                </a:lnTo>
                <a:lnTo>
                  <a:pt x="24" y="164"/>
                </a:lnTo>
                <a:lnTo>
                  <a:pt x="16" y="154"/>
                </a:lnTo>
                <a:lnTo>
                  <a:pt x="11" y="144"/>
                </a:lnTo>
                <a:lnTo>
                  <a:pt x="3" y="133"/>
                </a:lnTo>
                <a:lnTo>
                  <a:pt x="0" y="123"/>
                </a:lnTo>
                <a:lnTo>
                  <a:pt x="3" y="102"/>
                </a:lnTo>
                <a:lnTo>
                  <a:pt x="5" y="86"/>
                </a:lnTo>
                <a:lnTo>
                  <a:pt x="5" y="74"/>
                </a:lnTo>
                <a:lnTo>
                  <a:pt x="8" y="58"/>
                </a:lnTo>
                <a:lnTo>
                  <a:pt x="19" y="38"/>
                </a:lnTo>
                <a:lnTo>
                  <a:pt x="27" y="27"/>
                </a:lnTo>
                <a:lnTo>
                  <a:pt x="29" y="16"/>
                </a:lnTo>
                <a:lnTo>
                  <a:pt x="35" y="11"/>
                </a:lnTo>
                <a:lnTo>
                  <a:pt x="45" y="6"/>
                </a:lnTo>
                <a:lnTo>
                  <a:pt x="56" y="0"/>
                </a:lnTo>
              </a:path>
            </a:pathLst>
          </a:custGeom>
          <a:solidFill>
            <a:schemeClr val="accent2"/>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32" name="Freeform 32">
            <a:extLst>
              <a:ext uri="{FF2B5EF4-FFF2-40B4-BE49-F238E27FC236}">
                <a16:creationId xmlns:a16="http://schemas.microsoft.com/office/drawing/2014/main" id="{61340D39-1D6A-45AE-ACD5-4E1EF7EC4C69}"/>
              </a:ext>
            </a:extLst>
          </p:cNvPr>
          <p:cNvSpPr>
            <a:spLocks/>
          </p:cNvSpPr>
          <p:nvPr>
            <p:custDataLst>
              <p:tags r:id="rId25"/>
            </p:custDataLst>
          </p:nvPr>
        </p:nvSpPr>
        <p:spPr bwMode="auto">
          <a:xfrm rot="120000">
            <a:off x="10196381" y="1637483"/>
            <a:ext cx="293679" cy="392101"/>
          </a:xfrm>
          <a:custGeom>
            <a:avLst/>
            <a:gdLst>
              <a:gd name="T0" fmla="*/ 74 w 180"/>
              <a:gd name="T1" fmla="*/ 0 h 241"/>
              <a:gd name="T2" fmla="*/ 84 w 180"/>
              <a:gd name="T3" fmla="*/ 5 h 241"/>
              <a:gd name="T4" fmla="*/ 99 w 180"/>
              <a:gd name="T5" fmla="*/ 8 h 241"/>
              <a:gd name="T6" fmla="*/ 104 w 180"/>
              <a:gd name="T7" fmla="*/ 10 h 241"/>
              <a:gd name="T8" fmla="*/ 110 w 180"/>
              <a:gd name="T9" fmla="*/ 16 h 241"/>
              <a:gd name="T10" fmla="*/ 112 w 180"/>
              <a:gd name="T11" fmla="*/ 22 h 241"/>
              <a:gd name="T12" fmla="*/ 122 w 180"/>
              <a:gd name="T13" fmla="*/ 28 h 241"/>
              <a:gd name="T14" fmla="*/ 131 w 180"/>
              <a:gd name="T15" fmla="*/ 28 h 241"/>
              <a:gd name="T16" fmla="*/ 139 w 180"/>
              <a:gd name="T17" fmla="*/ 36 h 241"/>
              <a:gd name="T18" fmla="*/ 147 w 180"/>
              <a:gd name="T19" fmla="*/ 53 h 241"/>
              <a:gd name="T20" fmla="*/ 154 w 180"/>
              <a:gd name="T21" fmla="*/ 65 h 241"/>
              <a:gd name="T22" fmla="*/ 160 w 180"/>
              <a:gd name="T23" fmla="*/ 75 h 241"/>
              <a:gd name="T24" fmla="*/ 172 w 180"/>
              <a:gd name="T25" fmla="*/ 87 h 241"/>
              <a:gd name="T26" fmla="*/ 177 w 180"/>
              <a:gd name="T27" fmla="*/ 99 h 241"/>
              <a:gd name="T28" fmla="*/ 180 w 180"/>
              <a:gd name="T29" fmla="*/ 109 h 241"/>
              <a:gd name="T30" fmla="*/ 174 w 180"/>
              <a:gd name="T31" fmla="*/ 122 h 241"/>
              <a:gd name="T32" fmla="*/ 168 w 180"/>
              <a:gd name="T33" fmla="*/ 132 h 241"/>
              <a:gd name="T34" fmla="*/ 165 w 180"/>
              <a:gd name="T35" fmla="*/ 148 h 241"/>
              <a:gd name="T36" fmla="*/ 163 w 180"/>
              <a:gd name="T37" fmla="*/ 150 h 241"/>
              <a:gd name="T38" fmla="*/ 157 w 180"/>
              <a:gd name="T39" fmla="*/ 163 h 241"/>
              <a:gd name="T40" fmla="*/ 149 w 180"/>
              <a:gd name="T41" fmla="*/ 174 h 241"/>
              <a:gd name="T42" fmla="*/ 145 w 180"/>
              <a:gd name="T43" fmla="*/ 177 h 241"/>
              <a:gd name="T44" fmla="*/ 131 w 180"/>
              <a:gd name="T45" fmla="*/ 187 h 241"/>
              <a:gd name="T46" fmla="*/ 117 w 180"/>
              <a:gd name="T47" fmla="*/ 200 h 241"/>
              <a:gd name="T48" fmla="*/ 117 w 180"/>
              <a:gd name="T49" fmla="*/ 210 h 241"/>
              <a:gd name="T50" fmla="*/ 112 w 180"/>
              <a:gd name="T51" fmla="*/ 215 h 241"/>
              <a:gd name="T52" fmla="*/ 101 w 180"/>
              <a:gd name="T53" fmla="*/ 221 h 241"/>
              <a:gd name="T54" fmla="*/ 93 w 180"/>
              <a:gd name="T55" fmla="*/ 230 h 241"/>
              <a:gd name="T56" fmla="*/ 83 w 180"/>
              <a:gd name="T57" fmla="*/ 237 h 241"/>
              <a:gd name="T58" fmla="*/ 64 w 180"/>
              <a:gd name="T59" fmla="*/ 241 h 241"/>
              <a:gd name="T60" fmla="*/ 58 w 180"/>
              <a:gd name="T61" fmla="*/ 237 h 241"/>
              <a:gd name="T62" fmla="*/ 58 w 180"/>
              <a:gd name="T63" fmla="*/ 200 h 241"/>
              <a:gd name="T64" fmla="*/ 47 w 180"/>
              <a:gd name="T65" fmla="*/ 180 h 241"/>
              <a:gd name="T66" fmla="*/ 47 w 180"/>
              <a:gd name="T67" fmla="*/ 137 h 241"/>
              <a:gd name="T68" fmla="*/ 42 w 180"/>
              <a:gd name="T69" fmla="*/ 127 h 241"/>
              <a:gd name="T70" fmla="*/ 31 w 180"/>
              <a:gd name="T71" fmla="*/ 125 h 241"/>
              <a:gd name="T72" fmla="*/ 18 w 180"/>
              <a:gd name="T73" fmla="*/ 125 h 241"/>
              <a:gd name="T74" fmla="*/ 4 w 180"/>
              <a:gd name="T75" fmla="*/ 112 h 241"/>
              <a:gd name="T76" fmla="*/ 2 w 180"/>
              <a:gd name="T77" fmla="*/ 102 h 241"/>
              <a:gd name="T78" fmla="*/ 10 w 180"/>
              <a:gd name="T79" fmla="*/ 89 h 241"/>
              <a:gd name="T80" fmla="*/ 26 w 180"/>
              <a:gd name="T81" fmla="*/ 78 h 241"/>
              <a:gd name="T82" fmla="*/ 26 w 180"/>
              <a:gd name="T83" fmla="*/ 75 h 241"/>
              <a:gd name="T84" fmla="*/ 4 w 180"/>
              <a:gd name="T85" fmla="*/ 53 h 241"/>
              <a:gd name="T86" fmla="*/ 0 w 180"/>
              <a:gd name="T87" fmla="*/ 52 h 241"/>
              <a:gd name="T88" fmla="*/ 8 w 180"/>
              <a:gd name="T89" fmla="*/ 38 h 241"/>
              <a:gd name="T90" fmla="*/ 17 w 180"/>
              <a:gd name="T91" fmla="*/ 28 h 241"/>
              <a:gd name="T92" fmla="*/ 30 w 180"/>
              <a:gd name="T93" fmla="*/ 18 h 241"/>
              <a:gd name="T94" fmla="*/ 43 w 180"/>
              <a:gd name="T95" fmla="*/ 10 h 241"/>
              <a:gd name="T96" fmla="*/ 58 w 180"/>
              <a:gd name="T97" fmla="*/ 5 h 241"/>
              <a:gd name="T98" fmla="*/ 74 w 180"/>
              <a:gd name="T99"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0" h="241">
                <a:moveTo>
                  <a:pt x="74" y="0"/>
                </a:moveTo>
                <a:lnTo>
                  <a:pt x="84" y="5"/>
                </a:lnTo>
                <a:lnTo>
                  <a:pt x="99" y="8"/>
                </a:lnTo>
                <a:lnTo>
                  <a:pt x="104" y="10"/>
                </a:lnTo>
                <a:lnTo>
                  <a:pt x="110" y="16"/>
                </a:lnTo>
                <a:lnTo>
                  <a:pt x="112" y="22"/>
                </a:lnTo>
                <a:lnTo>
                  <a:pt x="122" y="28"/>
                </a:lnTo>
                <a:lnTo>
                  <a:pt x="131" y="28"/>
                </a:lnTo>
                <a:lnTo>
                  <a:pt x="139" y="36"/>
                </a:lnTo>
                <a:lnTo>
                  <a:pt x="147" y="53"/>
                </a:lnTo>
                <a:lnTo>
                  <a:pt x="154" y="65"/>
                </a:lnTo>
                <a:lnTo>
                  <a:pt x="160" y="75"/>
                </a:lnTo>
                <a:lnTo>
                  <a:pt x="172" y="87"/>
                </a:lnTo>
                <a:lnTo>
                  <a:pt x="177" y="99"/>
                </a:lnTo>
                <a:lnTo>
                  <a:pt x="180" y="109"/>
                </a:lnTo>
                <a:lnTo>
                  <a:pt x="174" y="122"/>
                </a:lnTo>
                <a:lnTo>
                  <a:pt x="168" y="132"/>
                </a:lnTo>
                <a:lnTo>
                  <a:pt x="165" y="148"/>
                </a:lnTo>
                <a:lnTo>
                  <a:pt x="163" y="150"/>
                </a:lnTo>
                <a:lnTo>
                  <a:pt x="157" y="163"/>
                </a:lnTo>
                <a:lnTo>
                  <a:pt x="149" y="174"/>
                </a:lnTo>
                <a:lnTo>
                  <a:pt x="145" y="177"/>
                </a:lnTo>
                <a:lnTo>
                  <a:pt x="131" y="187"/>
                </a:lnTo>
                <a:lnTo>
                  <a:pt x="117" y="200"/>
                </a:lnTo>
                <a:lnTo>
                  <a:pt x="117" y="210"/>
                </a:lnTo>
                <a:lnTo>
                  <a:pt x="112" y="215"/>
                </a:lnTo>
                <a:lnTo>
                  <a:pt x="101" y="221"/>
                </a:lnTo>
                <a:lnTo>
                  <a:pt x="93" y="230"/>
                </a:lnTo>
                <a:lnTo>
                  <a:pt x="83" y="237"/>
                </a:lnTo>
                <a:lnTo>
                  <a:pt x="64" y="241"/>
                </a:lnTo>
                <a:lnTo>
                  <a:pt x="58" y="237"/>
                </a:lnTo>
                <a:lnTo>
                  <a:pt x="58" y="200"/>
                </a:lnTo>
                <a:lnTo>
                  <a:pt x="47" y="180"/>
                </a:lnTo>
                <a:lnTo>
                  <a:pt x="47" y="137"/>
                </a:lnTo>
                <a:lnTo>
                  <a:pt x="42" y="127"/>
                </a:lnTo>
                <a:lnTo>
                  <a:pt x="31" y="125"/>
                </a:lnTo>
                <a:lnTo>
                  <a:pt x="18" y="125"/>
                </a:lnTo>
                <a:lnTo>
                  <a:pt x="4" y="112"/>
                </a:lnTo>
                <a:lnTo>
                  <a:pt x="2" y="102"/>
                </a:lnTo>
                <a:lnTo>
                  <a:pt x="10" y="89"/>
                </a:lnTo>
                <a:lnTo>
                  <a:pt x="26" y="78"/>
                </a:lnTo>
                <a:lnTo>
                  <a:pt x="26" y="75"/>
                </a:lnTo>
                <a:lnTo>
                  <a:pt x="4" y="53"/>
                </a:lnTo>
                <a:lnTo>
                  <a:pt x="0" y="52"/>
                </a:lnTo>
                <a:lnTo>
                  <a:pt x="8" y="38"/>
                </a:lnTo>
                <a:lnTo>
                  <a:pt x="17" y="28"/>
                </a:lnTo>
                <a:lnTo>
                  <a:pt x="30" y="18"/>
                </a:lnTo>
                <a:lnTo>
                  <a:pt x="43" y="10"/>
                </a:lnTo>
                <a:lnTo>
                  <a:pt x="58" y="5"/>
                </a:lnTo>
                <a:lnTo>
                  <a:pt x="74" y="0"/>
                </a:lnTo>
              </a:path>
            </a:pathLst>
          </a:custGeom>
          <a:solidFill>
            <a:schemeClr val="accent2"/>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33" name="Freeform 33">
            <a:extLst>
              <a:ext uri="{FF2B5EF4-FFF2-40B4-BE49-F238E27FC236}">
                <a16:creationId xmlns:a16="http://schemas.microsoft.com/office/drawing/2014/main" id="{DBE54145-0AA1-48AE-81CD-45CBA6F1EEF3}"/>
              </a:ext>
            </a:extLst>
          </p:cNvPr>
          <p:cNvSpPr>
            <a:spLocks/>
          </p:cNvSpPr>
          <p:nvPr>
            <p:custDataLst>
              <p:tags r:id="rId26"/>
            </p:custDataLst>
          </p:nvPr>
        </p:nvSpPr>
        <p:spPr bwMode="auto">
          <a:xfrm rot="120000">
            <a:off x="10005887" y="1018375"/>
            <a:ext cx="327016" cy="736579"/>
          </a:xfrm>
          <a:custGeom>
            <a:avLst/>
            <a:gdLst>
              <a:gd name="T0" fmla="*/ 161 w 200"/>
              <a:gd name="T1" fmla="*/ 0 h 453"/>
              <a:gd name="T2" fmla="*/ 154 w 200"/>
              <a:gd name="T3" fmla="*/ 44 h 453"/>
              <a:gd name="T4" fmla="*/ 143 w 200"/>
              <a:gd name="T5" fmla="*/ 67 h 453"/>
              <a:gd name="T6" fmla="*/ 118 w 200"/>
              <a:gd name="T7" fmla="*/ 102 h 453"/>
              <a:gd name="T8" fmla="*/ 104 w 200"/>
              <a:gd name="T9" fmla="*/ 142 h 453"/>
              <a:gd name="T10" fmla="*/ 108 w 200"/>
              <a:gd name="T11" fmla="*/ 169 h 453"/>
              <a:gd name="T12" fmla="*/ 86 w 200"/>
              <a:gd name="T13" fmla="*/ 205 h 453"/>
              <a:gd name="T14" fmla="*/ 78 w 200"/>
              <a:gd name="T15" fmla="*/ 220 h 453"/>
              <a:gd name="T16" fmla="*/ 87 w 200"/>
              <a:gd name="T17" fmla="*/ 238 h 453"/>
              <a:gd name="T18" fmla="*/ 62 w 200"/>
              <a:gd name="T19" fmla="*/ 245 h 453"/>
              <a:gd name="T20" fmla="*/ 34 w 200"/>
              <a:gd name="T21" fmla="*/ 249 h 453"/>
              <a:gd name="T22" fmla="*/ 19 w 200"/>
              <a:gd name="T23" fmla="*/ 266 h 453"/>
              <a:gd name="T24" fmla="*/ 13 w 200"/>
              <a:gd name="T25" fmla="*/ 295 h 453"/>
              <a:gd name="T26" fmla="*/ 3 w 200"/>
              <a:gd name="T27" fmla="*/ 321 h 453"/>
              <a:gd name="T28" fmla="*/ 0 w 200"/>
              <a:gd name="T29" fmla="*/ 345 h 453"/>
              <a:gd name="T30" fmla="*/ 24 w 200"/>
              <a:gd name="T31" fmla="*/ 359 h 453"/>
              <a:gd name="T32" fmla="*/ 45 w 200"/>
              <a:gd name="T33" fmla="*/ 356 h 453"/>
              <a:gd name="T34" fmla="*/ 45 w 200"/>
              <a:gd name="T35" fmla="*/ 382 h 453"/>
              <a:gd name="T36" fmla="*/ 54 w 200"/>
              <a:gd name="T37" fmla="*/ 404 h 453"/>
              <a:gd name="T38" fmla="*/ 54 w 200"/>
              <a:gd name="T39" fmla="*/ 451 h 453"/>
              <a:gd name="T40" fmla="*/ 58 w 200"/>
              <a:gd name="T41" fmla="*/ 453 h 453"/>
              <a:gd name="T42" fmla="*/ 93 w 200"/>
              <a:gd name="T43" fmla="*/ 446 h 453"/>
              <a:gd name="T44" fmla="*/ 115 w 200"/>
              <a:gd name="T45" fmla="*/ 430 h 453"/>
              <a:gd name="T46" fmla="*/ 124 w 200"/>
              <a:gd name="T47" fmla="*/ 429 h 453"/>
              <a:gd name="T48" fmla="*/ 142 w 200"/>
              <a:gd name="T49" fmla="*/ 405 h 453"/>
              <a:gd name="T50" fmla="*/ 168 w 200"/>
              <a:gd name="T51" fmla="*/ 387 h 453"/>
              <a:gd name="T52" fmla="*/ 200 w 200"/>
              <a:gd name="T53" fmla="*/ 377 h 453"/>
              <a:gd name="T54" fmla="*/ 183 w 200"/>
              <a:gd name="T55" fmla="*/ 359 h 453"/>
              <a:gd name="T56" fmla="*/ 164 w 200"/>
              <a:gd name="T57" fmla="*/ 345 h 453"/>
              <a:gd name="T58" fmla="*/ 141 w 200"/>
              <a:gd name="T59" fmla="*/ 335 h 453"/>
              <a:gd name="T60" fmla="*/ 129 w 200"/>
              <a:gd name="T61" fmla="*/ 320 h 453"/>
              <a:gd name="T62" fmla="*/ 115 w 200"/>
              <a:gd name="T63" fmla="*/ 314 h 453"/>
              <a:gd name="T64" fmla="*/ 126 w 200"/>
              <a:gd name="T65" fmla="*/ 292 h 453"/>
              <a:gd name="T66" fmla="*/ 131 w 200"/>
              <a:gd name="T67" fmla="*/ 273 h 453"/>
              <a:gd name="T68" fmla="*/ 148 w 200"/>
              <a:gd name="T69" fmla="*/ 252 h 453"/>
              <a:gd name="T70" fmla="*/ 164 w 200"/>
              <a:gd name="T71" fmla="*/ 208 h 453"/>
              <a:gd name="T72" fmla="*/ 164 w 200"/>
              <a:gd name="T73" fmla="*/ 180 h 453"/>
              <a:gd name="T74" fmla="*/ 162 w 200"/>
              <a:gd name="T75" fmla="*/ 156 h 453"/>
              <a:gd name="T76" fmla="*/ 169 w 200"/>
              <a:gd name="T77" fmla="*/ 123 h 453"/>
              <a:gd name="T78" fmla="*/ 186 w 200"/>
              <a:gd name="T79" fmla="*/ 83 h 453"/>
              <a:gd name="T80" fmla="*/ 197 w 200"/>
              <a:gd name="T81" fmla="*/ 62 h 453"/>
              <a:gd name="T82" fmla="*/ 192 w 200"/>
              <a:gd name="T83" fmla="*/ 36 h 453"/>
              <a:gd name="T84" fmla="*/ 177 w 200"/>
              <a:gd name="T85" fmla="*/ 13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00" h="453">
                <a:moveTo>
                  <a:pt x="159" y="0"/>
                </a:moveTo>
                <a:lnTo>
                  <a:pt x="161" y="0"/>
                </a:lnTo>
                <a:lnTo>
                  <a:pt x="159" y="22"/>
                </a:lnTo>
                <a:lnTo>
                  <a:pt x="154" y="44"/>
                </a:lnTo>
                <a:lnTo>
                  <a:pt x="150" y="57"/>
                </a:lnTo>
                <a:lnTo>
                  <a:pt x="143" y="67"/>
                </a:lnTo>
                <a:lnTo>
                  <a:pt x="130" y="84"/>
                </a:lnTo>
                <a:lnTo>
                  <a:pt x="118" y="102"/>
                </a:lnTo>
                <a:lnTo>
                  <a:pt x="108" y="126"/>
                </a:lnTo>
                <a:lnTo>
                  <a:pt x="104" y="142"/>
                </a:lnTo>
                <a:lnTo>
                  <a:pt x="105" y="155"/>
                </a:lnTo>
                <a:lnTo>
                  <a:pt x="108" y="169"/>
                </a:lnTo>
                <a:lnTo>
                  <a:pt x="99" y="190"/>
                </a:lnTo>
                <a:lnTo>
                  <a:pt x="86" y="205"/>
                </a:lnTo>
                <a:lnTo>
                  <a:pt x="70" y="216"/>
                </a:lnTo>
                <a:lnTo>
                  <a:pt x="78" y="220"/>
                </a:lnTo>
                <a:lnTo>
                  <a:pt x="84" y="230"/>
                </a:lnTo>
                <a:lnTo>
                  <a:pt x="87" y="238"/>
                </a:lnTo>
                <a:lnTo>
                  <a:pt x="77" y="242"/>
                </a:lnTo>
                <a:lnTo>
                  <a:pt x="62" y="245"/>
                </a:lnTo>
                <a:lnTo>
                  <a:pt x="49" y="246"/>
                </a:lnTo>
                <a:lnTo>
                  <a:pt x="34" y="249"/>
                </a:lnTo>
                <a:lnTo>
                  <a:pt x="25" y="255"/>
                </a:lnTo>
                <a:lnTo>
                  <a:pt x="19" y="266"/>
                </a:lnTo>
                <a:lnTo>
                  <a:pt x="17" y="279"/>
                </a:lnTo>
                <a:lnTo>
                  <a:pt x="13" y="295"/>
                </a:lnTo>
                <a:lnTo>
                  <a:pt x="7" y="307"/>
                </a:lnTo>
                <a:lnTo>
                  <a:pt x="3" y="321"/>
                </a:lnTo>
                <a:lnTo>
                  <a:pt x="1" y="345"/>
                </a:lnTo>
                <a:lnTo>
                  <a:pt x="0" y="345"/>
                </a:lnTo>
                <a:lnTo>
                  <a:pt x="11" y="351"/>
                </a:lnTo>
                <a:lnTo>
                  <a:pt x="24" y="359"/>
                </a:lnTo>
                <a:lnTo>
                  <a:pt x="43" y="356"/>
                </a:lnTo>
                <a:lnTo>
                  <a:pt x="45" y="356"/>
                </a:lnTo>
                <a:lnTo>
                  <a:pt x="48" y="364"/>
                </a:lnTo>
                <a:lnTo>
                  <a:pt x="45" y="382"/>
                </a:lnTo>
                <a:lnTo>
                  <a:pt x="48" y="393"/>
                </a:lnTo>
                <a:lnTo>
                  <a:pt x="54" y="404"/>
                </a:lnTo>
                <a:lnTo>
                  <a:pt x="50" y="427"/>
                </a:lnTo>
                <a:lnTo>
                  <a:pt x="54" y="451"/>
                </a:lnTo>
                <a:lnTo>
                  <a:pt x="57" y="453"/>
                </a:lnTo>
                <a:lnTo>
                  <a:pt x="58" y="453"/>
                </a:lnTo>
                <a:lnTo>
                  <a:pt x="70" y="448"/>
                </a:lnTo>
                <a:lnTo>
                  <a:pt x="93" y="446"/>
                </a:lnTo>
                <a:lnTo>
                  <a:pt x="105" y="434"/>
                </a:lnTo>
                <a:lnTo>
                  <a:pt x="115" y="430"/>
                </a:lnTo>
                <a:lnTo>
                  <a:pt x="129" y="430"/>
                </a:lnTo>
                <a:lnTo>
                  <a:pt x="124" y="429"/>
                </a:lnTo>
                <a:lnTo>
                  <a:pt x="133" y="415"/>
                </a:lnTo>
                <a:lnTo>
                  <a:pt x="142" y="405"/>
                </a:lnTo>
                <a:lnTo>
                  <a:pt x="155" y="395"/>
                </a:lnTo>
                <a:lnTo>
                  <a:pt x="168" y="387"/>
                </a:lnTo>
                <a:lnTo>
                  <a:pt x="184" y="382"/>
                </a:lnTo>
                <a:lnTo>
                  <a:pt x="200" y="377"/>
                </a:lnTo>
                <a:lnTo>
                  <a:pt x="194" y="367"/>
                </a:lnTo>
                <a:lnTo>
                  <a:pt x="183" y="359"/>
                </a:lnTo>
                <a:lnTo>
                  <a:pt x="169" y="348"/>
                </a:lnTo>
                <a:lnTo>
                  <a:pt x="164" y="345"/>
                </a:lnTo>
                <a:lnTo>
                  <a:pt x="143" y="345"/>
                </a:lnTo>
                <a:lnTo>
                  <a:pt x="141" y="335"/>
                </a:lnTo>
                <a:lnTo>
                  <a:pt x="141" y="325"/>
                </a:lnTo>
                <a:lnTo>
                  <a:pt x="129" y="320"/>
                </a:lnTo>
                <a:lnTo>
                  <a:pt x="118" y="317"/>
                </a:lnTo>
                <a:lnTo>
                  <a:pt x="115" y="314"/>
                </a:lnTo>
                <a:lnTo>
                  <a:pt x="118" y="305"/>
                </a:lnTo>
                <a:lnTo>
                  <a:pt x="126" y="292"/>
                </a:lnTo>
                <a:lnTo>
                  <a:pt x="129" y="286"/>
                </a:lnTo>
                <a:lnTo>
                  <a:pt x="131" y="273"/>
                </a:lnTo>
                <a:lnTo>
                  <a:pt x="146" y="263"/>
                </a:lnTo>
                <a:lnTo>
                  <a:pt x="148" y="252"/>
                </a:lnTo>
                <a:lnTo>
                  <a:pt x="156" y="242"/>
                </a:lnTo>
                <a:lnTo>
                  <a:pt x="164" y="208"/>
                </a:lnTo>
                <a:lnTo>
                  <a:pt x="169" y="198"/>
                </a:lnTo>
                <a:lnTo>
                  <a:pt x="164" y="180"/>
                </a:lnTo>
                <a:lnTo>
                  <a:pt x="159" y="169"/>
                </a:lnTo>
                <a:lnTo>
                  <a:pt x="162" y="156"/>
                </a:lnTo>
                <a:lnTo>
                  <a:pt x="164" y="140"/>
                </a:lnTo>
                <a:lnTo>
                  <a:pt x="169" y="123"/>
                </a:lnTo>
                <a:lnTo>
                  <a:pt x="177" y="109"/>
                </a:lnTo>
                <a:lnTo>
                  <a:pt x="186" y="83"/>
                </a:lnTo>
                <a:lnTo>
                  <a:pt x="194" y="76"/>
                </a:lnTo>
                <a:lnTo>
                  <a:pt x="197" y="62"/>
                </a:lnTo>
                <a:lnTo>
                  <a:pt x="197" y="47"/>
                </a:lnTo>
                <a:lnTo>
                  <a:pt x="192" y="36"/>
                </a:lnTo>
                <a:lnTo>
                  <a:pt x="189" y="26"/>
                </a:lnTo>
                <a:lnTo>
                  <a:pt x="177" y="13"/>
                </a:lnTo>
                <a:lnTo>
                  <a:pt x="159" y="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34" name="Freeform 34">
            <a:extLst>
              <a:ext uri="{FF2B5EF4-FFF2-40B4-BE49-F238E27FC236}">
                <a16:creationId xmlns:a16="http://schemas.microsoft.com/office/drawing/2014/main" id="{FB49300F-B21F-4E7A-9331-F9556EF5B1C9}"/>
              </a:ext>
            </a:extLst>
          </p:cNvPr>
          <p:cNvSpPr>
            <a:spLocks/>
          </p:cNvSpPr>
          <p:nvPr>
            <p:custDataLst>
              <p:tags r:id="rId27"/>
            </p:custDataLst>
          </p:nvPr>
        </p:nvSpPr>
        <p:spPr bwMode="auto">
          <a:xfrm rot="120000">
            <a:off x="8866093" y="5298151"/>
            <a:ext cx="36510" cy="36510"/>
          </a:xfrm>
          <a:custGeom>
            <a:avLst/>
            <a:gdLst>
              <a:gd name="T0" fmla="*/ 19 w 22"/>
              <a:gd name="T1" fmla="*/ 2 h 21"/>
              <a:gd name="T2" fmla="*/ 22 w 22"/>
              <a:gd name="T3" fmla="*/ 15 h 21"/>
              <a:gd name="T4" fmla="*/ 14 w 22"/>
              <a:gd name="T5" fmla="*/ 21 h 21"/>
              <a:gd name="T6" fmla="*/ 8 w 22"/>
              <a:gd name="T7" fmla="*/ 18 h 21"/>
              <a:gd name="T8" fmla="*/ 0 w 22"/>
              <a:gd name="T9" fmla="*/ 10 h 21"/>
              <a:gd name="T10" fmla="*/ 0 w 22"/>
              <a:gd name="T11" fmla="*/ 2 h 21"/>
              <a:gd name="T12" fmla="*/ 19 w 22"/>
              <a:gd name="T13" fmla="*/ 0 h 21"/>
              <a:gd name="T14" fmla="*/ 19 w 22"/>
              <a:gd name="T15" fmla="*/ 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1">
                <a:moveTo>
                  <a:pt x="19" y="2"/>
                </a:moveTo>
                <a:lnTo>
                  <a:pt x="22" y="15"/>
                </a:lnTo>
                <a:lnTo>
                  <a:pt x="14" y="21"/>
                </a:lnTo>
                <a:lnTo>
                  <a:pt x="8" y="18"/>
                </a:lnTo>
                <a:lnTo>
                  <a:pt x="0" y="10"/>
                </a:lnTo>
                <a:lnTo>
                  <a:pt x="0" y="2"/>
                </a:lnTo>
                <a:lnTo>
                  <a:pt x="19" y="0"/>
                </a:lnTo>
                <a:lnTo>
                  <a:pt x="19" y="2"/>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35" name="Freeform 35">
            <a:extLst>
              <a:ext uri="{FF2B5EF4-FFF2-40B4-BE49-F238E27FC236}">
                <a16:creationId xmlns:a16="http://schemas.microsoft.com/office/drawing/2014/main" id="{355A7B99-BA32-49BB-8F36-9488742B30EE}"/>
              </a:ext>
            </a:extLst>
          </p:cNvPr>
          <p:cNvSpPr>
            <a:spLocks/>
          </p:cNvSpPr>
          <p:nvPr>
            <p:custDataLst>
              <p:tags r:id="rId28"/>
            </p:custDataLst>
          </p:nvPr>
        </p:nvSpPr>
        <p:spPr bwMode="auto">
          <a:xfrm rot="120000">
            <a:off x="9359791" y="4809217"/>
            <a:ext cx="966760" cy="801664"/>
          </a:xfrm>
          <a:custGeom>
            <a:avLst/>
            <a:gdLst>
              <a:gd name="T0" fmla="*/ 63 w 593"/>
              <a:gd name="T1" fmla="*/ 238 h 493"/>
              <a:gd name="T2" fmla="*/ 92 w 593"/>
              <a:gd name="T3" fmla="*/ 255 h 493"/>
              <a:gd name="T4" fmla="*/ 141 w 593"/>
              <a:gd name="T5" fmla="*/ 244 h 493"/>
              <a:gd name="T6" fmla="*/ 180 w 593"/>
              <a:gd name="T7" fmla="*/ 224 h 493"/>
              <a:gd name="T8" fmla="*/ 218 w 593"/>
              <a:gd name="T9" fmla="*/ 206 h 493"/>
              <a:gd name="T10" fmla="*/ 251 w 593"/>
              <a:gd name="T11" fmla="*/ 209 h 493"/>
              <a:gd name="T12" fmla="*/ 294 w 593"/>
              <a:gd name="T13" fmla="*/ 192 h 493"/>
              <a:gd name="T14" fmla="*/ 337 w 593"/>
              <a:gd name="T15" fmla="*/ 141 h 493"/>
              <a:gd name="T16" fmla="*/ 354 w 593"/>
              <a:gd name="T17" fmla="*/ 78 h 493"/>
              <a:gd name="T18" fmla="*/ 380 w 593"/>
              <a:gd name="T19" fmla="*/ 45 h 493"/>
              <a:gd name="T20" fmla="*/ 426 w 593"/>
              <a:gd name="T21" fmla="*/ 5 h 493"/>
              <a:gd name="T22" fmla="*/ 466 w 593"/>
              <a:gd name="T23" fmla="*/ 3 h 493"/>
              <a:gd name="T24" fmla="*/ 498 w 593"/>
              <a:gd name="T25" fmla="*/ 25 h 493"/>
              <a:gd name="T26" fmla="*/ 503 w 593"/>
              <a:gd name="T27" fmla="*/ 41 h 493"/>
              <a:gd name="T28" fmla="*/ 495 w 593"/>
              <a:gd name="T29" fmla="*/ 66 h 493"/>
              <a:gd name="T30" fmla="*/ 515 w 593"/>
              <a:gd name="T31" fmla="*/ 92 h 493"/>
              <a:gd name="T32" fmla="*/ 530 w 593"/>
              <a:gd name="T33" fmla="*/ 106 h 493"/>
              <a:gd name="T34" fmla="*/ 544 w 593"/>
              <a:gd name="T35" fmla="*/ 124 h 493"/>
              <a:gd name="T36" fmla="*/ 593 w 593"/>
              <a:gd name="T37" fmla="*/ 149 h 493"/>
              <a:gd name="T38" fmla="*/ 574 w 593"/>
              <a:gd name="T39" fmla="*/ 167 h 493"/>
              <a:gd name="T40" fmla="*/ 522 w 593"/>
              <a:gd name="T41" fmla="*/ 194 h 493"/>
              <a:gd name="T42" fmla="*/ 517 w 593"/>
              <a:gd name="T43" fmla="*/ 243 h 493"/>
              <a:gd name="T44" fmla="*/ 519 w 593"/>
              <a:gd name="T45" fmla="*/ 276 h 493"/>
              <a:gd name="T46" fmla="*/ 479 w 593"/>
              <a:gd name="T47" fmla="*/ 306 h 493"/>
              <a:gd name="T48" fmla="*/ 460 w 593"/>
              <a:gd name="T49" fmla="*/ 342 h 493"/>
              <a:gd name="T50" fmla="*/ 466 w 593"/>
              <a:gd name="T51" fmla="*/ 388 h 493"/>
              <a:gd name="T52" fmla="*/ 446 w 593"/>
              <a:gd name="T53" fmla="*/ 414 h 493"/>
              <a:gd name="T54" fmla="*/ 460 w 593"/>
              <a:gd name="T55" fmla="*/ 425 h 493"/>
              <a:gd name="T56" fmla="*/ 453 w 593"/>
              <a:gd name="T57" fmla="*/ 461 h 493"/>
              <a:gd name="T58" fmla="*/ 439 w 593"/>
              <a:gd name="T59" fmla="*/ 453 h 493"/>
              <a:gd name="T60" fmla="*/ 428 w 593"/>
              <a:gd name="T61" fmla="*/ 441 h 493"/>
              <a:gd name="T62" fmla="*/ 416 w 593"/>
              <a:gd name="T63" fmla="*/ 456 h 493"/>
              <a:gd name="T64" fmla="*/ 393 w 593"/>
              <a:gd name="T65" fmla="*/ 468 h 493"/>
              <a:gd name="T66" fmla="*/ 362 w 593"/>
              <a:gd name="T67" fmla="*/ 477 h 493"/>
              <a:gd name="T68" fmla="*/ 338 w 593"/>
              <a:gd name="T69" fmla="*/ 451 h 493"/>
              <a:gd name="T70" fmla="*/ 273 w 593"/>
              <a:gd name="T71" fmla="*/ 446 h 493"/>
              <a:gd name="T72" fmla="*/ 239 w 593"/>
              <a:gd name="T73" fmla="*/ 471 h 493"/>
              <a:gd name="T74" fmla="*/ 200 w 593"/>
              <a:gd name="T75" fmla="*/ 493 h 493"/>
              <a:gd name="T76" fmla="*/ 190 w 593"/>
              <a:gd name="T77" fmla="*/ 459 h 493"/>
              <a:gd name="T78" fmla="*/ 154 w 593"/>
              <a:gd name="T79" fmla="*/ 464 h 493"/>
              <a:gd name="T80" fmla="*/ 116 w 593"/>
              <a:gd name="T81" fmla="*/ 468 h 493"/>
              <a:gd name="T82" fmla="*/ 84 w 593"/>
              <a:gd name="T83" fmla="*/ 449 h 493"/>
              <a:gd name="T84" fmla="*/ 82 w 593"/>
              <a:gd name="T85" fmla="*/ 410 h 493"/>
              <a:gd name="T86" fmla="*/ 63 w 593"/>
              <a:gd name="T87" fmla="*/ 380 h 493"/>
              <a:gd name="T88" fmla="*/ 57 w 593"/>
              <a:gd name="T89" fmla="*/ 365 h 493"/>
              <a:gd name="T90" fmla="*/ 33 w 593"/>
              <a:gd name="T91" fmla="*/ 352 h 493"/>
              <a:gd name="T92" fmla="*/ 35 w 593"/>
              <a:gd name="T93" fmla="*/ 334 h 493"/>
              <a:gd name="T94" fmla="*/ 0 w 593"/>
              <a:gd name="T95" fmla="*/ 284 h 493"/>
              <a:gd name="T96" fmla="*/ 12 w 593"/>
              <a:gd name="T97" fmla="*/ 251 h 493"/>
              <a:gd name="T98" fmla="*/ 22 w 593"/>
              <a:gd name="T99" fmla="*/ 225 h 493"/>
              <a:gd name="T100" fmla="*/ 48 w 593"/>
              <a:gd name="T101" fmla="*/ 206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3" h="493">
                <a:moveTo>
                  <a:pt x="48" y="206"/>
                </a:moveTo>
                <a:lnTo>
                  <a:pt x="54" y="224"/>
                </a:lnTo>
                <a:lnTo>
                  <a:pt x="63" y="238"/>
                </a:lnTo>
                <a:lnTo>
                  <a:pt x="71" y="246"/>
                </a:lnTo>
                <a:lnTo>
                  <a:pt x="78" y="252"/>
                </a:lnTo>
                <a:lnTo>
                  <a:pt x="92" y="255"/>
                </a:lnTo>
                <a:lnTo>
                  <a:pt x="121" y="252"/>
                </a:lnTo>
                <a:lnTo>
                  <a:pt x="132" y="248"/>
                </a:lnTo>
                <a:lnTo>
                  <a:pt x="141" y="244"/>
                </a:lnTo>
                <a:lnTo>
                  <a:pt x="152" y="241"/>
                </a:lnTo>
                <a:lnTo>
                  <a:pt x="163" y="236"/>
                </a:lnTo>
                <a:lnTo>
                  <a:pt x="180" y="224"/>
                </a:lnTo>
                <a:lnTo>
                  <a:pt x="197" y="215"/>
                </a:lnTo>
                <a:lnTo>
                  <a:pt x="208" y="210"/>
                </a:lnTo>
                <a:lnTo>
                  <a:pt x="218" y="206"/>
                </a:lnTo>
                <a:lnTo>
                  <a:pt x="233" y="203"/>
                </a:lnTo>
                <a:lnTo>
                  <a:pt x="240" y="205"/>
                </a:lnTo>
                <a:lnTo>
                  <a:pt x="251" y="209"/>
                </a:lnTo>
                <a:lnTo>
                  <a:pt x="262" y="207"/>
                </a:lnTo>
                <a:lnTo>
                  <a:pt x="280" y="200"/>
                </a:lnTo>
                <a:lnTo>
                  <a:pt x="294" y="192"/>
                </a:lnTo>
                <a:lnTo>
                  <a:pt x="310" y="182"/>
                </a:lnTo>
                <a:lnTo>
                  <a:pt x="322" y="169"/>
                </a:lnTo>
                <a:lnTo>
                  <a:pt x="337" y="141"/>
                </a:lnTo>
                <a:lnTo>
                  <a:pt x="342" y="99"/>
                </a:lnTo>
                <a:lnTo>
                  <a:pt x="346" y="89"/>
                </a:lnTo>
                <a:lnTo>
                  <a:pt x="354" y="78"/>
                </a:lnTo>
                <a:lnTo>
                  <a:pt x="364" y="70"/>
                </a:lnTo>
                <a:lnTo>
                  <a:pt x="369" y="60"/>
                </a:lnTo>
                <a:lnTo>
                  <a:pt x="380" y="45"/>
                </a:lnTo>
                <a:lnTo>
                  <a:pt x="393" y="28"/>
                </a:lnTo>
                <a:lnTo>
                  <a:pt x="408" y="17"/>
                </a:lnTo>
                <a:lnTo>
                  <a:pt x="426" y="5"/>
                </a:lnTo>
                <a:lnTo>
                  <a:pt x="438" y="3"/>
                </a:lnTo>
                <a:lnTo>
                  <a:pt x="453" y="0"/>
                </a:lnTo>
                <a:lnTo>
                  <a:pt x="466" y="3"/>
                </a:lnTo>
                <a:lnTo>
                  <a:pt x="492" y="3"/>
                </a:lnTo>
                <a:lnTo>
                  <a:pt x="492" y="3"/>
                </a:lnTo>
                <a:lnTo>
                  <a:pt x="498" y="25"/>
                </a:lnTo>
                <a:lnTo>
                  <a:pt x="500" y="27"/>
                </a:lnTo>
                <a:lnTo>
                  <a:pt x="507" y="30"/>
                </a:lnTo>
                <a:lnTo>
                  <a:pt x="503" y="41"/>
                </a:lnTo>
                <a:lnTo>
                  <a:pt x="487" y="54"/>
                </a:lnTo>
                <a:lnTo>
                  <a:pt x="487" y="59"/>
                </a:lnTo>
                <a:lnTo>
                  <a:pt x="495" y="66"/>
                </a:lnTo>
                <a:lnTo>
                  <a:pt x="509" y="74"/>
                </a:lnTo>
                <a:lnTo>
                  <a:pt x="509" y="87"/>
                </a:lnTo>
                <a:lnTo>
                  <a:pt x="515" y="92"/>
                </a:lnTo>
                <a:lnTo>
                  <a:pt x="525" y="95"/>
                </a:lnTo>
                <a:lnTo>
                  <a:pt x="527" y="98"/>
                </a:lnTo>
                <a:lnTo>
                  <a:pt x="530" y="106"/>
                </a:lnTo>
                <a:lnTo>
                  <a:pt x="522" y="119"/>
                </a:lnTo>
                <a:lnTo>
                  <a:pt x="525" y="122"/>
                </a:lnTo>
                <a:lnTo>
                  <a:pt x="544" y="124"/>
                </a:lnTo>
                <a:lnTo>
                  <a:pt x="560" y="137"/>
                </a:lnTo>
                <a:lnTo>
                  <a:pt x="583" y="141"/>
                </a:lnTo>
                <a:lnTo>
                  <a:pt x="593" y="149"/>
                </a:lnTo>
                <a:lnTo>
                  <a:pt x="593" y="157"/>
                </a:lnTo>
                <a:lnTo>
                  <a:pt x="588" y="166"/>
                </a:lnTo>
                <a:lnTo>
                  <a:pt x="574" y="167"/>
                </a:lnTo>
                <a:lnTo>
                  <a:pt x="555" y="174"/>
                </a:lnTo>
                <a:lnTo>
                  <a:pt x="534" y="189"/>
                </a:lnTo>
                <a:lnTo>
                  <a:pt x="522" y="194"/>
                </a:lnTo>
                <a:lnTo>
                  <a:pt x="522" y="212"/>
                </a:lnTo>
                <a:lnTo>
                  <a:pt x="519" y="233"/>
                </a:lnTo>
                <a:lnTo>
                  <a:pt x="517" y="243"/>
                </a:lnTo>
                <a:lnTo>
                  <a:pt x="522" y="253"/>
                </a:lnTo>
                <a:lnTo>
                  <a:pt x="525" y="269"/>
                </a:lnTo>
                <a:lnTo>
                  <a:pt x="519" y="276"/>
                </a:lnTo>
                <a:lnTo>
                  <a:pt x="503" y="287"/>
                </a:lnTo>
                <a:lnTo>
                  <a:pt x="489" y="303"/>
                </a:lnTo>
                <a:lnTo>
                  <a:pt x="479" y="306"/>
                </a:lnTo>
                <a:lnTo>
                  <a:pt x="473" y="311"/>
                </a:lnTo>
                <a:lnTo>
                  <a:pt x="466" y="322"/>
                </a:lnTo>
                <a:lnTo>
                  <a:pt x="460" y="342"/>
                </a:lnTo>
                <a:lnTo>
                  <a:pt x="472" y="352"/>
                </a:lnTo>
                <a:lnTo>
                  <a:pt x="473" y="368"/>
                </a:lnTo>
                <a:lnTo>
                  <a:pt x="466" y="388"/>
                </a:lnTo>
                <a:lnTo>
                  <a:pt x="460" y="399"/>
                </a:lnTo>
                <a:lnTo>
                  <a:pt x="446" y="410"/>
                </a:lnTo>
                <a:lnTo>
                  <a:pt x="446" y="414"/>
                </a:lnTo>
                <a:lnTo>
                  <a:pt x="449" y="418"/>
                </a:lnTo>
                <a:lnTo>
                  <a:pt x="460" y="414"/>
                </a:lnTo>
                <a:lnTo>
                  <a:pt x="460" y="425"/>
                </a:lnTo>
                <a:lnTo>
                  <a:pt x="464" y="436"/>
                </a:lnTo>
                <a:lnTo>
                  <a:pt x="464" y="449"/>
                </a:lnTo>
                <a:lnTo>
                  <a:pt x="453" y="461"/>
                </a:lnTo>
                <a:lnTo>
                  <a:pt x="446" y="461"/>
                </a:lnTo>
                <a:lnTo>
                  <a:pt x="441" y="459"/>
                </a:lnTo>
                <a:lnTo>
                  <a:pt x="439" y="453"/>
                </a:lnTo>
                <a:lnTo>
                  <a:pt x="436" y="444"/>
                </a:lnTo>
                <a:lnTo>
                  <a:pt x="433" y="441"/>
                </a:lnTo>
                <a:lnTo>
                  <a:pt x="428" y="441"/>
                </a:lnTo>
                <a:lnTo>
                  <a:pt x="425" y="444"/>
                </a:lnTo>
                <a:lnTo>
                  <a:pt x="419" y="453"/>
                </a:lnTo>
                <a:lnTo>
                  <a:pt x="416" y="456"/>
                </a:lnTo>
                <a:lnTo>
                  <a:pt x="406" y="459"/>
                </a:lnTo>
                <a:lnTo>
                  <a:pt x="403" y="461"/>
                </a:lnTo>
                <a:lnTo>
                  <a:pt x="393" y="468"/>
                </a:lnTo>
                <a:lnTo>
                  <a:pt x="379" y="482"/>
                </a:lnTo>
                <a:lnTo>
                  <a:pt x="365" y="485"/>
                </a:lnTo>
                <a:lnTo>
                  <a:pt x="362" y="477"/>
                </a:lnTo>
                <a:lnTo>
                  <a:pt x="360" y="467"/>
                </a:lnTo>
                <a:lnTo>
                  <a:pt x="347" y="451"/>
                </a:lnTo>
                <a:lnTo>
                  <a:pt x="338" y="451"/>
                </a:lnTo>
                <a:lnTo>
                  <a:pt x="317" y="456"/>
                </a:lnTo>
                <a:lnTo>
                  <a:pt x="289" y="453"/>
                </a:lnTo>
                <a:lnTo>
                  <a:pt x="273" y="446"/>
                </a:lnTo>
                <a:lnTo>
                  <a:pt x="268" y="449"/>
                </a:lnTo>
                <a:lnTo>
                  <a:pt x="265" y="451"/>
                </a:lnTo>
                <a:lnTo>
                  <a:pt x="239" y="471"/>
                </a:lnTo>
                <a:lnTo>
                  <a:pt x="227" y="482"/>
                </a:lnTo>
                <a:lnTo>
                  <a:pt x="214" y="485"/>
                </a:lnTo>
                <a:lnTo>
                  <a:pt x="200" y="493"/>
                </a:lnTo>
                <a:lnTo>
                  <a:pt x="198" y="490"/>
                </a:lnTo>
                <a:lnTo>
                  <a:pt x="196" y="468"/>
                </a:lnTo>
                <a:lnTo>
                  <a:pt x="190" y="459"/>
                </a:lnTo>
                <a:lnTo>
                  <a:pt x="184" y="453"/>
                </a:lnTo>
                <a:lnTo>
                  <a:pt x="171" y="464"/>
                </a:lnTo>
                <a:lnTo>
                  <a:pt x="154" y="464"/>
                </a:lnTo>
                <a:lnTo>
                  <a:pt x="138" y="467"/>
                </a:lnTo>
                <a:lnTo>
                  <a:pt x="127" y="468"/>
                </a:lnTo>
                <a:lnTo>
                  <a:pt x="116" y="468"/>
                </a:lnTo>
                <a:lnTo>
                  <a:pt x="106" y="459"/>
                </a:lnTo>
                <a:lnTo>
                  <a:pt x="90" y="453"/>
                </a:lnTo>
                <a:lnTo>
                  <a:pt x="84" y="449"/>
                </a:lnTo>
                <a:lnTo>
                  <a:pt x="82" y="438"/>
                </a:lnTo>
                <a:lnTo>
                  <a:pt x="79" y="431"/>
                </a:lnTo>
                <a:lnTo>
                  <a:pt x="82" y="410"/>
                </a:lnTo>
                <a:lnTo>
                  <a:pt x="79" y="399"/>
                </a:lnTo>
                <a:lnTo>
                  <a:pt x="73" y="388"/>
                </a:lnTo>
                <a:lnTo>
                  <a:pt x="63" y="380"/>
                </a:lnTo>
                <a:lnTo>
                  <a:pt x="48" y="380"/>
                </a:lnTo>
                <a:lnTo>
                  <a:pt x="48" y="376"/>
                </a:lnTo>
                <a:lnTo>
                  <a:pt x="57" y="365"/>
                </a:lnTo>
                <a:lnTo>
                  <a:pt x="51" y="360"/>
                </a:lnTo>
                <a:lnTo>
                  <a:pt x="40" y="358"/>
                </a:lnTo>
                <a:lnTo>
                  <a:pt x="33" y="352"/>
                </a:lnTo>
                <a:lnTo>
                  <a:pt x="33" y="349"/>
                </a:lnTo>
                <a:lnTo>
                  <a:pt x="38" y="337"/>
                </a:lnTo>
                <a:lnTo>
                  <a:pt x="35" y="334"/>
                </a:lnTo>
                <a:lnTo>
                  <a:pt x="22" y="331"/>
                </a:lnTo>
                <a:lnTo>
                  <a:pt x="0" y="313"/>
                </a:lnTo>
                <a:lnTo>
                  <a:pt x="0" y="284"/>
                </a:lnTo>
                <a:lnTo>
                  <a:pt x="3" y="276"/>
                </a:lnTo>
                <a:lnTo>
                  <a:pt x="8" y="265"/>
                </a:lnTo>
                <a:lnTo>
                  <a:pt x="12" y="251"/>
                </a:lnTo>
                <a:lnTo>
                  <a:pt x="16" y="241"/>
                </a:lnTo>
                <a:lnTo>
                  <a:pt x="19" y="230"/>
                </a:lnTo>
                <a:lnTo>
                  <a:pt x="22" y="225"/>
                </a:lnTo>
                <a:lnTo>
                  <a:pt x="33" y="218"/>
                </a:lnTo>
                <a:lnTo>
                  <a:pt x="47" y="207"/>
                </a:lnTo>
                <a:lnTo>
                  <a:pt x="48" y="206"/>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36" name="Freeform 36">
            <a:extLst>
              <a:ext uri="{FF2B5EF4-FFF2-40B4-BE49-F238E27FC236}">
                <a16:creationId xmlns:a16="http://schemas.microsoft.com/office/drawing/2014/main" id="{27373370-59A1-40A9-8299-C75BCE47A5A6}"/>
              </a:ext>
            </a:extLst>
          </p:cNvPr>
          <p:cNvSpPr>
            <a:spLocks/>
          </p:cNvSpPr>
          <p:nvPr>
            <p:custDataLst>
              <p:tags r:id="rId29"/>
            </p:custDataLst>
          </p:nvPr>
        </p:nvSpPr>
        <p:spPr bwMode="auto">
          <a:xfrm rot="120000">
            <a:off x="8504153" y="4848903"/>
            <a:ext cx="398450" cy="428612"/>
          </a:xfrm>
          <a:custGeom>
            <a:avLst/>
            <a:gdLst>
              <a:gd name="T0" fmla="*/ 82 w 244"/>
              <a:gd name="T1" fmla="*/ 3 h 265"/>
              <a:gd name="T2" fmla="*/ 84 w 244"/>
              <a:gd name="T3" fmla="*/ 12 h 265"/>
              <a:gd name="T4" fmla="*/ 81 w 244"/>
              <a:gd name="T5" fmla="*/ 19 h 265"/>
              <a:gd name="T6" fmla="*/ 71 w 244"/>
              <a:gd name="T7" fmla="*/ 24 h 265"/>
              <a:gd name="T8" fmla="*/ 58 w 244"/>
              <a:gd name="T9" fmla="*/ 27 h 265"/>
              <a:gd name="T10" fmla="*/ 34 w 244"/>
              <a:gd name="T11" fmla="*/ 27 h 265"/>
              <a:gd name="T12" fmla="*/ 24 w 244"/>
              <a:gd name="T13" fmla="*/ 22 h 265"/>
              <a:gd name="T14" fmla="*/ 2 w 244"/>
              <a:gd name="T15" fmla="*/ 20 h 265"/>
              <a:gd name="T16" fmla="*/ 0 w 244"/>
              <a:gd name="T17" fmla="*/ 22 h 265"/>
              <a:gd name="T18" fmla="*/ 7 w 244"/>
              <a:gd name="T19" fmla="*/ 26 h 265"/>
              <a:gd name="T20" fmla="*/ 7 w 244"/>
              <a:gd name="T21" fmla="*/ 37 h 265"/>
              <a:gd name="T22" fmla="*/ 12 w 244"/>
              <a:gd name="T23" fmla="*/ 86 h 265"/>
              <a:gd name="T24" fmla="*/ 15 w 244"/>
              <a:gd name="T25" fmla="*/ 101 h 265"/>
              <a:gd name="T26" fmla="*/ 20 w 244"/>
              <a:gd name="T27" fmla="*/ 111 h 265"/>
              <a:gd name="T28" fmla="*/ 26 w 244"/>
              <a:gd name="T29" fmla="*/ 119 h 265"/>
              <a:gd name="T30" fmla="*/ 36 w 244"/>
              <a:gd name="T31" fmla="*/ 129 h 265"/>
              <a:gd name="T32" fmla="*/ 36 w 244"/>
              <a:gd name="T33" fmla="*/ 146 h 265"/>
              <a:gd name="T34" fmla="*/ 50 w 244"/>
              <a:gd name="T35" fmla="*/ 164 h 265"/>
              <a:gd name="T36" fmla="*/ 64 w 244"/>
              <a:gd name="T37" fmla="*/ 167 h 265"/>
              <a:gd name="T38" fmla="*/ 69 w 244"/>
              <a:gd name="T39" fmla="*/ 171 h 265"/>
              <a:gd name="T40" fmla="*/ 69 w 244"/>
              <a:gd name="T41" fmla="*/ 174 h 265"/>
              <a:gd name="T42" fmla="*/ 64 w 244"/>
              <a:gd name="T43" fmla="*/ 193 h 265"/>
              <a:gd name="T44" fmla="*/ 67 w 244"/>
              <a:gd name="T45" fmla="*/ 195 h 265"/>
              <a:gd name="T46" fmla="*/ 77 w 244"/>
              <a:gd name="T47" fmla="*/ 201 h 265"/>
              <a:gd name="T48" fmla="*/ 90 w 244"/>
              <a:gd name="T49" fmla="*/ 203 h 265"/>
              <a:gd name="T50" fmla="*/ 102 w 244"/>
              <a:gd name="T51" fmla="*/ 213 h 265"/>
              <a:gd name="T52" fmla="*/ 112 w 244"/>
              <a:gd name="T53" fmla="*/ 219 h 265"/>
              <a:gd name="T54" fmla="*/ 123 w 244"/>
              <a:gd name="T55" fmla="*/ 226 h 265"/>
              <a:gd name="T56" fmla="*/ 134 w 244"/>
              <a:gd name="T57" fmla="*/ 226 h 265"/>
              <a:gd name="T58" fmla="*/ 153 w 244"/>
              <a:gd name="T59" fmla="*/ 231 h 265"/>
              <a:gd name="T60" fmla="*/ 167 w 244"/>
              <a:gd name="T61" fmla="*/ 241 h 265"/>
              <a:gd name="T62" fmla="*/ 177 w 244"/>
              <a:gd name="T63" fmla="*/ 252 h 265"/>
              <a:gd name="T64" fmla="*/ 194 w 244"/>
              <a:gd name="T65" fmla="*/ 255 h 265"/>
              <a:gd name="T66" fmla="*/ 204 w 244"/>
              <a:gd name="T67" fmla="*/ 259 h 265"/>
              <a:gd name="T68" fmla="*/ 220 w 244"/>
              <a:gd name="T69" fmla="*/ 265 h 265"/>
              <a:gd name="T70" fmla="*/ 237 w 244"/>
              <a:gd name="T71" fmla="*/ 258 h 265"/>
              <a:gd name="T72" fmla="*/ 240 w 244"/>
              <a:gd name="T73" fmla="*/ 255 h 265"/>
              <a:gd name="T74" fmla="*/ 244 w 244"/>
              <a:gd name="T75" fmla="*/ 244 h 265"/>
              <a:gd name="T76" fmla="*/ 244 w 244"/>
              <a:gd name="T77" fmla="*/ 236 h 265"/>
              <a:gd name="T78" fmla="*/ 241 w 244"/>
              <a:gd name="T79" fmla="*/ 223 h 265"/>
              <a:gd name="T80" fmla="*/ 237 w 244"/>
              <a:gd name="T81" fmla="*/ 211 h 265"/>
              <a:gd name="T82" fmla="*/ 220 w 244"/>
              <a:gd name="T83" fmla="*/ 193 h 265"/>
              <a:gd name="T84" fmla="*/ 202 w 244"/>
              <a:gd name="T85" fmla="*/ 182 h 265"/>
              <a:gd name="T86" fmla="*/ 196 w 244"/>
              <a:gd name="T87" fmla="*/ 111 h 265"/>
              <a:gd name="T88" fmla="*/ 196 w 244"/>
              <a:gd name="T89" fmla="*/ 99 h 265"/>
              <a:gd name="T90" fmla="*/ 185 w 244"/>
              <a:gd name="T91" fmla="*/ 86 h 265"/>
              <a:gd name="T92" fmla="*/ 185 w 244"/>
              <a:gd name="T93" fmla="*/ 70 h 265"/>
              <a:gd name="T94" fmla="*/ 174 w 244"/>
              <a:gd name="T95" fmla="*/ 60 h 265"/>
              <a:gd name="T96" fmla="*/ 164 w 244"/>
              <a:gd name="T97" fmla="*/ 52 h 265"/>
              <a:gd name="T98" fmla="*/ 150 w 244"/>
              <a:gd name="T99" fmla="*/ 42 h 265"/>
              <a:gd name="T100" fmla="*/ 139 w 244"/>
              <a:gd name="T101" fmla="*/ 37 h 265"/>
              <a:gd name="T102" fmla="*/ 126 w 244"/>
              <a:gd name="T103" fmla="*/ 26 h 265"/>
              <a:gd name="T104" fmla="*/ 121 w 244"/>
              <a:gd name="T105" fmla="*/ 16 h 265"/>
              <a:gd name="T106" fmla="*/ 109 w 244"/>
              <a:gd name="T107" fmla="*/ 16 h 265"/>
              <a:gd name="T108" fmla="*/ 96 w 244"/>
              <a:gd name="T109" fmla="*/ 9 h 265"/>
              <a:gd name="T110" fmla="*/ 85 w 244"/>
              <a:gd name="T111" fmla="*/ 6 h 265"/>
              <a:gd name="T112" fmla="*/ 80 w 244"/>
              <a:gd name="T113" fmla="*/ 0 h 265"/>
              <a:gd name="T114" fmla="*/ 82 w 244"/>
              <a:gd name="T115" fmla="*/ 3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44" h="265">
                <a:moveTo>
                  <a:pt x="82" y="3"/>
                </a:moveTo>
                <a:lnTo>
                  <a:pt x="84" y="12"/>
                </a:lnTo>
                <a:lnTo>
                  <a:pt x="81" y="19"/>
                </a:lnTo>
                <a:lnTo>
                  <a:pt x="71" y="24"/>
                </a:lnTo>
                <a:lnTo>
                  <a:pt x="58" y="27"/>
                </a:lnTo>
                <a:lnTo>
                  <a:pt x="34" y="27"/>
                </a:lnTo>
                <a:lnTo>
                  <a:pt x="24" y="22"/>
                </a:lnTo>
                <a:lnTo>
                  <a:pt x="2" y="20"/>
                </a:lnTo>
                <a:lnTo>
                  <a:pt x="0" y="22"/>
                </a:lnTo>
                <a:lnTo>
                  <a:pt x="7" y="26"/>
                </a:lnTo>
                <a:lnTo>
                  <a:pt x="7" y="37"/>
                </a:lnTo>
                <a:lnTo>
                  <a:pt x="12" y="86"/>
                </a:lnTo>
                <a:lnTo>
                  <a:pt x="15" y="101"/>
                </a:lnTo>
                <a:lnTo>
                  <a:pt x="20" y="111"/>
                </a:lnTo>
                <a:lnTo>
                  <a:pt x="26" y="119"/>
                </a:lnTo>
                <a:lnTo>
                  <a:pt x="36" y="129"/>
                </a:lnTo>
                <a:lnTo>
                  <a:pt x="36" y="146"/>
                </a:lnTo>
                <a:lnTo>
                  <a:pt x="50" y="164"/>
                </a:lnTo>
                <a:lnTo>
                  <a:pt x="64" y="167"/>
                </a:lnTo>
                <a:lnTo>
                  <a:pt x="69" y="171"/>
                </a:lnTo>
                <a:lnTo>
                  <a:pt x="69" y="174"/>
                </a:lnTo>
                <a:lnTo>
                  <a:pt x="64" y="193"/>
                </a:lnTo>
                <a:lnTo>
                  <a:pt x="67" y="195"/>
                </a:lnTo>
                <a:lnTo>
                  <a:pt x="77" y="201"/>
                </a:lnTo>
                <a:lnTo>
                  <a:pt x="90" y="203"/>
                </a:lnTo>
                <a:lnTo>
                  <a:pt x="102" y="213"/>
                </a:lnTo>
                <a:lnTo>
                  <a:pt x="112" y="219"/>
                </a:lnTo>
                <a:lnTo>
                  <a:pt x="123" y="226"/>
                </a:lnTo>
                <a:lnTo>
                  <a:pt x="134" y="226"/>
                </a:lnTo>
                <a:lnTo>
                  <a:pt x="153" y="231"/>
                </a:lnTo>
                <a:lnTo>
                  <a:pt x="167" y="241"/>
                </a:lnTo>
                <a:lnTo>
                  <a:pt x="177" y="252"/>
                </a:lnTo>
                <a:lnTo>
                  <a:pt x="194" y="255"/>
                </a:lnTo>
                <a:lnTo>
                  <a:pt x="204" y="259"/>
                </a:lnTo>
                <a:lnTo>
                  <a:pt x="220" y="265"/>
                </a:lnTo>
                <a:lnTo>
                  <a:pt x="237" y="258"/>
                </a:lnTo>
                <a:lnTo>
                  <a:pt x="240" y="255"/>
                </a:lnTo>
                <a:lnTo>
                  <a:pt x="244" y="244"/>
                </a:lnTo>
                <a:lnTo>
                  <a:pt x="244" y="236"/>
                </a:lnTo>
                <a:lnTo>
                  <a:pt x="241" y="223"/>
                </a:lnTo>
                <a:lnTo>
                  <a:pt x="237" y="211"/>
                </a:lnTo>
                <a:lnTo>
                  <a:pt x="220" y="193"/>
                </a:lnTo>
                <a:lnTo>
                  <a:pt x="202" y="182"/>
                </a:lnTo>
                <a:lnTo>
                  <a:pt x="196" y="111"/>
                </a:lnTo>
                <a:lnTo>
                  <a:pt x="196" y="99"/>
                </a:lnTo>
                <a:lnTo>
                  <a:pt x="185" y="86"/>
                </a:lnTo>
                <a:lnTo>
                  <a:pt x="185" y="70"/>
                </a:lnTo>
                <a:lnTo>
                  <a:pt x="174" y="60"/>
                </a:lnTo>
                <a:lnTo>
                  <a:pt x="164" y="52"/>
                </a:lnTo>
                <a:lnTo>
                  <a:pt x="150" y="42"/>
                </a:lnTo>
                <a:lnTo>
                  <a:pt x="139" y="37"/>
                </a:lnTo>
                <a:lnTo>
                  <a:pt x="126" y="26"/>
                </a:lnTo>
                <a:lnTo>
                  <a:pt x="121" y="16"/>
                </a:lnTo>
                <a:lnTo>
                  <a:pt x="109" y="16"/>
                </a:lnTo>
                <a:lnTo>
                  <a:pt x="96" y="9"/>
                </a:lnTo>
                <a:lnTo>
                  <a:pt x="85" y="6"/>
                </a:lnTo>
                <a:lnTo>
                  <a:pt x="80" y="0"/>
                </a:lnTo>
                <a:lnTo>
                  <a:pt x="82" y="3"/>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37" name="Freeform 37">
            <a:extLst>
              <a:ext uri="{FF2B5EF4-FFF2-40B4-BE49-F238E27FC236}">
                <a16:creationId xmlns:a16="http://schemas.microsoft.com/office/drawing/2014/main" id="{CE940B6E-B2C4-495F-ADA7-D6408D2CC938}"/>
              </a:ext>
            </a:extLst>
          </p:cNvPr>
          <p:cNvSpPr>
            <a:spLocks/>
          </p:cNvSpPr>
          <p:nvPr>
            <p:custDataLst>
              <p:tags r:id="rId30"/>
            </p:custDataLst>
          </p:nvPr>
        </p:nvSpPr>
        <p:spPr bwMode="auto">
          <a:xfrm rot="120000">
            <a:off x="10605942" y="3807532"/>
            <a:ext cx="42861" cy="65086"/>
          </a:xfrm>
          <a:custGeom>
            <a:avLst/>
            <a:gdLst>
              <a:gd name="T0" fmla="*/ 7 w 25"/>
              <a:gd name="T1" fmla="*/ 38 h 40"/>
              <a:gd name="T2" fmla="*/ 3 w 25"/>
              <a:gd name="T3" fmla="*/ 8 h 40"/>
              <a:gd name="T4" fmla="*/ 0 w 25"/>
              <a:gd name="T5" fmla="*/ 0 h 40"/>
              <a:gd name="T6" fmla="*/ 7 w 25"/>
              <a:gd name="T7" fmla="*/ 0 h 40"/>
              <a:gd name="T8" fmla="*/ 16 w 25"/>
              <a:gd name="T9" fmla="*/ 8 h 40"/>
              <a:gd name="T10" fmla="*/ 22 w 25"/>
              <a:gd name="T11" fmla="*/ 17 h 40"/>
              <a:gd name="T12" fmla="*/ 25 w 25"/>
              <a:gd name="T13" fmla="*/ 27 h 40"/>
              <a:gd name="T14" fmla="*/ 25 w 25"/>
              <a:gd name="T15" fmla="*/ 36 h 40"/>
              <a:gd name="T16" fmla="*/ 13 w 25"/>
              <a:gd name="T17" fmla="*/ 38 h 40"/>
              <a:gd name="T18" fmla="*/ 7 w 25"/>
              <a:gd name="T19" fmla="*/ 40 h 40"/>
              <a:gd name="T20" fmla="*/ 7 w 25"/>
              <a:gd name="T21" fmla="*/ 3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40">
                <a:moveTo>
                  <a:pt x="7" y="38"/>
                </a:moveTo>
                <a:lnTo>
                  <a:pt x="3" y="8"/>
                </a:lnTo>
                <a:lnTo>
                  <a:pt x="0" y="0"/>
                </a:lnTo>
                <a:lnTo>
                  <a:pt x="7" y="0"/>
                </a:lnTo>
                <a:lnTo>
                  <a:pt x="16" y="8"/>
                </a:lnTo>
                <a:lnTo>
                  <a:pt x="22" y="17"/>
                </a:lnTo>
                <a:lnTo>
                  <a:pt x="25" y="27"/>
                </a:lnTo>
                <a:lnTo>
                  <a:pt x="25" y="36"/>
                </a:lnTo>
                <a:lnTo>
                  <a:pt x="13" y="38"/>
                </a:lnTo>
                <a:lnTo>
                  <a:pt x="7" y="40"/>
                </a:lnTo>
                <a:lnTo>
                  <a:pt x="7" y="38"/>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38" name="Freeform 38">
            <a:extLst>
              <a:ext uri="{FF2B5EF4-FFF2-40B4-BE49-F238E27FC236}">
                <a16:creationId xmlns:a16="http://schemas.microsoft.com/office/drawing/2014/main" id="{D945E024-3880-4F88-B646-37C5B076AD40}"/>
              </a:ext>
            </a:extLst>
          </p:cNvPr>
          <p:cNvSpPr>
            <a:spLocks/>
          </p:cNvSpPr>
          <p:nvPr>
            <p:custDataLst>
              <p:tags r:id="rId31"/>
            </p:custDataLst>
          </p:nvPr>
        </p:nvSpPr>
        <p:spPr bwMode="auto">
          <a:xfrm rot="120000">
            <a:off x="10659916" y="3932943"/>
            <a:ext cx="138108" cy="117471"/>
          </a:xfrm>
          <a:custGeom>
            <a:avLst/>
            <a:gdLst>
              <a:gd name="T0" fmla="*/ 2 w 86"/>
              <a:gd name="T1" fmla="*/ 23 h 72"/>
              <a:gd name="T2" fmla="*/ 0 w 86"/>
              <a:gd name="T3" fmla="*/ 26 h 72"/>
              <a:gd name="T4" fmla="*/ 12 w 86"/>
              <a:gd name="T5" fmla="*/ 35 h 72"/>
              <a:gd name="T6" fmla="*/ 25 w 86"/>
              <a:gd name="T7" fmla="*/ 35 h 72"/>
              <a:gd name="T8" fmla="*/ 27 w 86"/>
              <a:gd name="T9" fmla="*/ 38 h 72"/>
              <a:gd name="T10" fmla="*/ 30 w 86"/>
              <a:gd name="T11" fmla="*/ 43 h 72"/>
              <a:gd name="T12" fmla="*/ 41 w 86"/>
              <a:gd name="T13" fmla="*/ 45 h 72"/>
              <a:gd name="T14" fmla="*/ 42 w 86"/>
              <a:gd name="T15" fmla="*/ 48 h 72"/>
              <a:gd name="T16" fmla="*/ 42 w 86"/>
              <a:gd name="T17" fmla="*/ 51 h 72"/>
              <a:gd name="T18" fmla="*/ 41 w 86"/>
              <a:gd name="T19" fmla="*/ 63 h 72"/>
              <a:gd name="T20" fmla="*/ 46 w 86"/>
              <a:gd name="T21" fmla="*/ 72 h 72"/>
              <a:gd name="T22" fmla="*/ 82 w 86"/>
              <a:gd name="T23" fmla="*/ 72 h 72"/>
              <a:gd name="T24" fmla="*/ 86 w 86"/>
              <a:gd name="T25" fmla="*/ 68 h 72"/>
              <a:gd name="T26" fmla="*/ 86 w 86"/>
              <a:gd name="T27" fmla="*/ 56 h 72"/>
              <a:gd name="T28" fmla="*/ 78 w 86"/>
              <a:gd name="T29" fmla="*/ 43 h 72"/>
              <a:gd name="T30" fmla="*/ 72 w 86"/>
              <a:gd name="T31" fmla="*/ 33 h 72"/>
              <a:gd name="T32" fmla="*/ 66 w 86"/>
              <a:gd name="T33" fmla="*/ 18 h 72"/>
              <a:gd name="T34" fmla="*/ 59 w 86"/>
              <a:gd name="T35" fmla="*/ 5 h 72"/>
              <a:gd name="T36" fmla="*/ 33 w 86"/>
              <a:gd name="T37" fmla="*/ 0 h 72"/>
              <a:gd name="T38" fmla="*/ 12 w 86"/>
              <a:gd name="T39" fmla="*/ 7 h 72"/>
              <a:gd name="T40" fmla="*/ 3 w 86"/>
              <a:gd name="T41" fmla="*/ 18 h 72"/>
              <a:gd name="T42" fmla="*/ 2 w 86"/>
              <a:gd name="T43" fmla="*/ 21 h 72"/>
              <a:gd name="T44" fmla="*/ 2 w 86"/>
              <a:gd name="T45" fmla="*/ 2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72">
                <a:moveTo>
                  <a:pt x="2" y="23"/>
                </a:moveTo>
                <a:lnTo>
                  <a:pt x="0" y="26"/>
                </a:lnTo>
                <a:lnTo>
                  <a:pt x="12" y="35"/>
                </a:lnTo>
                <a:lnTo>
                  <a:pt x="25" y="35"/>
                </a:lnTo>
                <a:lnTo>
                  <a:pt x="27" y="38"/>
                </a:lnTo>
                <a:lnTo>
                  <a:pt x="30" y="43"/>
                </a:lnTo>
                <a:lnTo>
                  <a:pt x="41" y="45"/>
                </a:lnTo>
                <a:lnTo>
                  <a:pt x="42" y="48"/>
                </a:lnTo>
                <a:lnTo>
                  <a:pt x="42" y="51"/>
                </a:lnTo>
                <a:lnTo>
                  <a:pt x="41" y="63"/>
                </a:lnTo>
                <a:lnTo>
                  <a:pt x="46" y="72"/>
                </a:lnTo>
                <a:lnTo>
                  <a:pt x="82" y="72"/>
                </a:lnTo>
                <a:lnTo>
                  <a:pt x="86" y="68"/>
                </a:lnTo>
                <a:lnTo>
                  <a:pt x="86" y="56"/>
                </a:lnTo>
                <a:lnTo>
                  <a:pt x="78" y="43"/>
                </a:lnTo>
                <a:lnTo>
                  <a:pt x="72" y="33"/>
                </a:lnTo>
                <a:lnTo>
                  <a:pt x="66" y="18"/>
                </a:lnTo>
                <a:lnTo>
                  <a:pt x="59" y="5"/>
                </a:lnTo>
                <a:lnTo>
                  <a:pt x="33" y="0"/>
                </a:lnTo>
                <a:lnTo>
                  <a:pt x="12" y="7"/>
                </a:lnTo>
                <a:lnTo>
                  <a:pt x="3" y="18"/>
                </a:lnTo>
                <a:lnTo>
                  <a:pt x="2" y="21"/>
                </a:lnTo>
                <a:lnTo>
                  <a:pt x="2" y="23"/>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39" name="Freeform 39">
            <a:extLst>
              <a:ext uri="{FF2B5EF4-FFF2-40B4-BE49-F238E27FC236}">
                <a16:creationId xmlns:a16="http://schemas.microsoft.com/office/drawing/2014/main" id="{EAB2793C-AC37-40B0-A126-CA1D0E6ABB3A}"/>
              </a:ext>
            </a:extLst>
          </p:cNvPr>
          <p:cNvSpPr>
            <a:spLocks/>
          </p:cNvSpPr>
          <p:nvPr>
            <p:custDataLst>
              <p:tags r:id="rId32"/>
            </p:custDataLst>
          </p:nvPr>
        </p:nvSpPr>
        <p:spPr bwMode="auto">
          <a:xfrm rot="120000">
            <a:off x="10291627" y="3953577"/>
            <a:ext cx="114296" cy="101598"/>
          </a:xfrm>
          <a:custGeom>
            <a:avLst/>
            <a:gdLst>
              <a:gd name="T0" fmla="*/ 0 w 69"/>
              <a:gd name="T1" fmla="*/ 0 h 62"/>
              <a:gd name="T2" fmla="*/ 59 w 69"/>
              <a:gd name="T3" fmla="*/ 0 h 62"/>
              <a:gd name="T4" fmla="*/ 69 w 69"/>
              <a:gd name="T5" fmla="*/ 8 h 62"/>
              <a:gd name="T6" fmla="*/ 69 w 69"/>
              <a:gd name="T7" fmla="*/ 52 h 62"/>
              <a:gd name="T8" fmla="*/ 67 w 69"/>
              <a:gd name="T9" fmla="*/ 62 h 62"/>
              <a:gd name="T10" fmla="*/ 48 w 69"/>
              <a:gd name="T11" fmla="*/ 62 h 62"/>
              <a:gd name="T12" fmla="*/ 48 w 69"/>
              <a:gd name="T13" fmla="*/ 58 h 62"/>
              <a:gd name="T14" fmla="*/ 50 w 69"/>
              <a:gd name="T15" fmla="*/ 52 h 62"/>
              <a:gd name="T16" fmla="*/ 35 w 69"/>
              <a:gd name="T17" fmla="*/ 31 h 62"/>
              <a:gd name="T18" fmla="*/ 24 w 69"/>
              <a:gd name="T19" fmla="*/ 24 h 62"/>
              <a:gd name="T20" fmla="*/ 14 w 69"/>
              <a:gd name="T21" fmla="*/ 19 h 62"/>
              <a:gd name="T22" fmla="*/ 0 w 69"/>
              <a:gd name="T23" fmla="*/ 5 h 62"/>
              <a:gd name="T24" fmla="*/ 0 w 69"/>
              <a:gd name="T2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9" h="62">
                <a:moveTo>
                  <a:pt x="0" y="0"/>
                </a:moveTo>
                <a:lnTo>
                  <a:pt x="59" y="0"/>
                </a:lnTo>
                <a:lnTo>
                  <a:pt x="69" y="8"/>
                </a:lnTo>
                <a:lnTo>
                  <a:pt x="69" y="52"/>
                </a:lnTo>
                <a:lnTo>
                  <a:pt x="67" y="62"/>
                </a:lnTo>
                <a:lnTo>
                  <a:pt x="48" y="62"/>
                </a:lnTo>
                <a:lnTo>
                  <a:pt x="48" y="58"/>
                </a:lnTo>
                <a:lnTo>
                  <a:pt x="50" y="52"/>
                </a:lnTo>
                <a:lnTo>
                  <a:pt x="35" y="31"/>
                </a:lnTo>
                <a:lnTo>
                  <a:pt x="24" y="24"/>
                </a:lnTo>
                <a:lnTo>
                  <a:pt x="14" y="19"/>
                </a:lnTo>
                <a:lnTo>
                  <a:pt x="0" y="5"/>
                </a:lnTo>
                <a:lnTo>
                  <a:pt x="0"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40" name="Freeform 40">
            <a:extLst>
              <a:ext uri="{FF2B5EF4-FFF2-40B4-BE49-F238E27FC236}">
                <a16:creationId xmlns:a16="http://schemas.microsoft.com/office/drawing/2014/main" id="{3914E10C-131E-4D80-84B1-2AA99734926A}"/>
              </a:ext>
            </a:extLst>
          </p:cNvPr>
          <p:cNvSpPr>
            <a:spLocks/>
          </p:cNvSpPr>
          <p:nvPr>
            <p:custDataLst>
              <p:tags r:id="rId33"/>
            </p:custDataLst>
          </p:nvPr>
        </p:nvSpPr>
        <p:spPr bwMode="auto">
          <a:xfrm rot="120000">
            <a:off x="10545619" y="3971042"/>
            <a:ext cx="100009" cy="53973"/>
          </a:xfrm>
          <a:custGeom>
            <a:avLst/>
            <a:gdLst>
              <a:gd name="T0" fmla="*/ 4 w 61"/>
              <a:gd name="T1" fmla="*/ 0 h 34"/>
              <a:gd name="T2" fmla="*/ 16 w 61"/>
              <a:gd name="T3" fmla="*/ 0 h 34"/>
              <a:gd name="T4" fmla="*/ 26 w 61"/>
              <a:gd name="T5" fmla="*/ 7 h 34"/>
              <a:gd name="T6" fmla="*/ 37 w 61"/>
              <a:gd name="T7" fmla="*/ 13 h 34"/>
              <a:gd name="T8" fmla="*/ 49 w 61"/>
              <a:gd name="T9" fmla="*/ 16 h 34"/>
              <a:gd name="T10" fmla="*/ 61 w 61"/>
              <a:gd name="T11" fmla="*/ 20 h 34"/>
              <a:gd name="T12" fmla="*/ 61 w 61"/>
              <a:gd name="T13" fmla="*/ 28 h 34"/>
              <a:gd name="T14" fmla="*/ 26 w 61"/>
              <a:gd name="T15" fmla="*/ 28 h 34"/>
              <a:gd name="T16" fmla="*/ 16 w 61"/>
              <a:gd name="T17" fmla="*/ 34 h 34"/>
              <a:gd name="T18" fmla="*/ 4 w 61"/>
              <a:gd name="T19" fmla="*/ 34 h 34"/>
              <a:gd name="T20" fmla="*/ 0 w 61"/>
              <a:gd name="T21" fmla="*/ 4 h 34"/>
              <a:gd name="T22" fmla="*/ 4 w 61"/>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34">
                <a:moveTo>
                  <a:pt x="4" y="0"/>
                </a:moveTo>
                <a:lnTo>
                  <a:pt x="16" y="0"/>
                </a:lnTo>
                <a:lnTo>
                  <a:pt x="26" y="7"/>
                </a:lnTo>
                <a:lnTo>
                  <a:pt x="37" y="13"/>
                </a:lnTo>
                <a:lnTo>
                  <a:pt x="49" y="16"/>
                </a:lnTo>
                <a:lnTo>
                  <a:pt x="61" y="20"/>
                </a:lnTo>
                <a:lnTo>
                  <a:pt x="61" y="28"/>
                </a:lnTo>
                <a:lnTo>
                  <a:pt x="26" y="28"/>
                </a:lnTo>
                <a:lnTo>
                  <a:pt x="16" y="34"/>
                </a:lnTo>
                <a:lnTo>
                  <a:pt x="4" y="34"/>
                </a:lnTo>
                <a:lnTo>
                  <a:pt x="0" y="4"/>
                </a:lnTo>
                <a:lnTo>
                  <a:pt x="4"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41" name="Freeform 41">
            <a:extLst>
              <a:ext uri="{FF2B5EF4-FFF2-40B4-BE49-F238E27FC236}">
                <a16:creationId xmlns:a16="http://schemas.microsoft.com/office/drawing/2014/main" id="{026E63F6-F1F4-4597-A19E-1616F58D866E}"/>
              </a:ext>
            </a:extLst>
          </p:cNvPr>
          <p:cNvSpPr>
            <a:spLocks/>
          </p:cNvSpPr>
          <p:nvPr>
            <p:custDataLst>
              <p:tags r:id="rId34"/>
            </p:custDataLst>
          </p:nvPr>
        </p:nvSpPr>
        <p:spPr bwMode="auto">
          <a:xfrm rot="120000">
            <a:off x="10455133" y="4064701"/>
            <a:ext cx="120647" cy="138109"/>
          </a:xfrm>
          <a:custGeom>
            <a:avLst/>
            <a:gdLst>
              <a:gd name="T0" fmla="*/ 62 w 73"/>
              <a:gd name="T1" fmla="*/ 36 h 84"/>
              <a:gd name="T2" fmla="*/ 35 w 73"/>
              <a:gd name="T3" fmla="*/ 69 h 84"/>
              <a:gd name="T4" fmla="*/ 29 w 73"/>
              <a:gd name="T5" fmla="*/ 74 h 84"/>
              <a:gd name="T6" fmla="*/ 27 w 73"/>
              <a:gd name="T7" fmla="*/ 84 h 84"/>
              <a:gd name="T8" fmla="*/ 21 w 73"/>
              <a:gd name="T9" fmla="*/ 84 h 84"/>
              <a:gd name="T10" fmla="*/ 8 w 73"/>
              <a:gd name="T11" fmla="*/ 69 h 84"/>
              <a:gd name="T12" fmla="*/ 8 w 73"/>
              <a:gd name="T13" fmla="*/ 63 h 84"/>
              <a:gd name="T14" fmla="*/ 14 w 73"/>
              <a:gd name="T15" fmla="*/ 52 h 84"/>
              <a:gd name="T16" fmla="*/ 14 w 73"/>
              <a:gd name="T17" fmla="*/ 30 h 84"/>
              <a:gd name="T18" fmla="*/ 8 w 73"/>
              <a:gd name="T19" fmla="*/ 20 h 84"/>
              <a:gd name="T20" fmla="*/ 0 w 73"/>
              <a:gd name="T21" fmla="*/ 9 h 84"/>
              <a:gd name="T22" fmla="*/ 0 w 73"/>
              <a:gd name="T23" fmla="*/ 3 h 84"/>
              <a:gd name="T24" fmla="*/ 5 w 73"/>
              <a:gd name="T25" fmla="*/ 0 h 84"/>
              <a:gd name="T26" fmla="*/ 21 w 73"/>
              <a:gd name="T27" fmla="*/ 0 h 84"/>
              <a:gd name="T28" fmla="*/ 37 w 73"/>
              <a:gd name="T29" fmla="*/ 2 h 84"/>
              <a:gd name="T30" fmla="*/ 51 w 73"/>
              <a:gd name="T31" fmla="*/ 0 h 84"/>
              <a:gd name="T32" fmla="*/ 62 w 73"/>
              <a:gd name="T33" fmla="*/ 0 h 84"/>
              <a:gd name="T34" fmla="*/ 70 w 73"/>
              <a:gd name="T35" fmla="*/ 12 h 84"/>
              <a:gd name="T36" fmla="*/ 73 w 73"/>
              <a:gd name="T37" fmla="*/ 17 h 84"/>
              <a:gd name="T38" fmla="*/ 67 w 73"/>
              <a:gd name="T39" fmla="*/ 27 h 84"/>
              <a:gd name="T40" fmla="*/ 64 w 73"/>
              <a:gd name="T41" fmla="*/ 36 h 84"/>
              <a:gd name="T42" fmla="*/ 62 w 73"/>
              <a:gd name="T43" fmla="*/ 36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3" h="84">
                <a:moveTo>
                  <a:pt x="62" y="36"/>
                </a:moveTo>
                <a:lnTo>
                  <a:pt x="35" y="69"/>
                </a:lnTo>
                <a:lnTo>
                  <a:pt x="29" y="74"/>
                </a:lnTo>
                <a:lnTo>
                  <a:pt x="27" y="84"/>
                </a:lnTo>
                <a:lnTo>
                  <a:pt x="21" y="84"/>
                </a:lnTo>
                <a:lnTo>
                  <a:pt x="8" y="69"/>
                </a:lnTo>
                <a:lnTo>
                  <a:pt x="8" y="63"/>
                </a:lnTo>
                <a:lnTo>
                  <a:pt x="14" y="52"/>
                </a:lnTo>
                <a:lnTo>
                  <a:pt x="14" y="30"/>
                </a:lnTo>
                <a:lnTo>
                  <a:pt x="8" y="20"/>
                </a:lnTo>
                <a:lnTo>
                  <a:pt x="0" y="9"/>
                </a:lnTo>
                <a:lnTo>
                  <a:pt x="0" y="3"/>
                </a:lnTo>
                <a:lnTo>
                  <a:pt x="5" y="0"/>
                </a:lnTo>
                <a:lnTo>
                  <a:pt x="21" y="0"/>
                </a:lnTo>
                <a:lnTo>
                  <a:pt x="37" y="2"/>
                </a:lnTo>
                <a:lnTo>
                  <a:pt x="51" y="0"/>
                </a:lnTo>
                <a:lnTo>
                  <a:pt x="62" y="0"/>
                </a:lnTo>
                <a:lnTo>
                  <a:pt x="70" y="12"/>
                </a:lnTo>
                <a:lnTo>
                  <a:pt x="73" y="17"/>
                </a:lnTo>
                <a:lnTo>
                  <a:pt x="67" y="27"/>
                </a:lnTo>
                <a:lnTo>
                  <a:pt x="64" y="36"/>
                </a:lnTo>
                <a:lnTo>
                  <a:pt x="62" y="36"/>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42" name="Freeform 42">
            <a:extLst>
              <a:ext uri="{FF2B5EF4-FFF2-40B4-BE49-F238E27FC236}">
                <a16:creationId xmlns:a16="http://schemas.microsoft.com/office/drawing/2014/main" id="{97C6727F-ED9B-459E-90A5-84FBAF616EE1}"/>
              </a:ext>
            </a:extLst>
          </p:cNvPr>
          <p:cNvSpPr>
            <a:spLocks/>
          </p:cNvSpPr>
          <p:nvPr>
            <p:custDataLst>
              <p:tags r:id="rId35"/>
            </p:custDataLst>
          </p:nvPr>
        </p:nvSpPr>
        <p:spPr bwMode="auto">
          <a:xfrm rot="120000">
            <a:off x="10640866" y="4158361"/>
            <a:ext cx="101598" cy="77785"/>
          </a:xfrm>
          <a:custGeom>
            <a:avLst/>
            <a:gdLst>
              <a:gd name="T0" fmla="*/ 0 w 61"/>
              <a:gd name="T1" fmla="*/ 38 h 48"/>
              <a:gd name="T2" fmla="*/ 3 w 61"/>
              <a:gd name="T3" fmla="*/ 28 h 48"/>
              <a:gd name="T4" fmla="*/ 6 w 61"/>
              <a:gd name="T5" fmla="*/ 24 h 48"/>
              <a:gd name="T6" fmla="*/ 14 w 61"/>
              <a:gd name="T7" fmla="*/ 13 h 48"/>
              <a:gd name="T8" fmla="*/ 25 w 61"/>
              <a:gd name="T9" fmla="*/ 3 h 48"/>
              <a:gd name="T10" fmla="*/ 34 w 61"/>
              <a:gd name="T11" fmla="*/ 0 h 48"/>
              <a:gd name="T12" fmla="*/ 53 w 61"/>
              <a:gd name="T13" fmla="*/ 3 h 48"/>
              <a:gd name="T14" fmla="*/ 59 w 61"/>
              <a:gd name="T15" fmla="*/ 8 h 48"/>
              <a:gd name="T16" fmla="*/ 61 w 61"/>
              <a:gd name="T17" fmla="*/ 22 h 48"/>
              <a:gd name="T18" fmla="*/ 59 w 61"/>
              <a:gd name="T19" fmla="*/ 28 h 48"/>
              <a:gd name="T20" fmla="*/ 51 w 61"/>
              <a:gd name="T21" fmla="*/ 34 h 48"/>
              <a:gd name="T22" fmla="*/ 25 w 61"/>
              <a:gd name="T23" fmla="*/ 37 h 48"/>
              <a:gd name="T24" fmla="*/ 14 w 61"/>
              <a:gd name="T25" fmla="*/ 42 h 48"/>
              <a:gd name="T26" fmla="*/ 11 w 61"/>
              <a:gd name="T27" fmla="*/ 44 h 48"/>
              <a:gd name="T28" fmla="*/ 4 w 61"/>
              <a:gd name="T29" fmla="*/ 48 h 48"/>
              <a:gd name="T30" fmla="*/ 3 w 61"/>
              <a:gd name="T31" fmla="*/ 44 h 48"/>
              <a:gd name="T32" fmla="*/ 0 w 61"/>
              <a:gd name="T33" fmla="*/ 37 h 48"/>
              <a:gd name="T34" fmla="*/ 0 w 61"/>
              <a:gd name="T35"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1" h="48">
                <a:moveTo>
                  <a:pt x="0" y="38"/>
                </a:moveTo>
                <a:lnTo>
                  <a:pt x="3" y="28"/>
                </a:lnTo>
                <a:lnTo>
                  <a:pt x="6" y="24"/>
                </a:lnTo>
                <a:lnTo>
                  <a:pt x="14" y="13"/>
                </a:lnTo>
                <a:lnTo>
                  <a:pt x="25" y="3"/>
                </a:lnTo>
                <a:lnTo>
                  <a:pt x="34" y="0"/>
                </a:lnTo>
                <a:lnTo>
                  <a:pt x="53" y="3"/>
                </a:lnTo>
                <a:lnTo>
                  <a:pt x="59" y="8"/>
                </a:lnTo>
                <a:lnTo>
                  <a:pt x="61" y="22"/>
                </a:lnTo>
                <a:lnTo>
                  <a:pt x="59" y="28"/>
                </a:lnTo>
                <a:lnTo>
                  <a:pt x="51" y="34"/>
                </a:lnTo>
                <a:lnTo>
                  <a:pt x="25" y="37"/>
                </a:lnTo>
                <a:lnTo>
                  <a:pt x="14" y="42"/>
                </a:lnTo>
                <a:lnTo>
                  <a:pt x="11" y="44"/>
                </a:lnTo>
                <a:lnTo>
                  <a:pt x="4" y="48"/>
                </a:lnTo>
                <a:lnTo>
                  <a:pt x="3" y="44"/>
                </a:lnTo>
                <a:lnTo>
                  <a:pt x="0" y="37"/>
                </a:lnTo>
                <a:lnTo>
                  <a:pt x="0" y="38"/>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43" name="Freeform 43">
            <a:extLst>
              <a:ext uri="{FF2B5EF4-FFF2-40B4-BE49-F238E27FC236}">
                <a16:creationId xmlns:a16="http://schemas.microsoft.com/office/drawing/2014/main" id="{E8FFFE65-5FA0-4F14-B3B2-05096395369F}"/>
              </a:ext>
            </a:extLst>
          </p:cNvPr>
          <p:cNvSpPr>
            <a:spLocks/>
          </p:cNvSpPr>
          <p:nvPr>
            <p:custDataLst>
              <p:tags r:id="rId36"/>
            </p:custDataLst>
          </p:nvPr>
        </p:nvSpPr>
        <p:spPr bwMode="auto">
          <a:xfrm rot="120000">
            <a:off x="10250354" y="4074225"/>
            <a:ext cx="73023" cy="23813"/>
          </a:xfrm>
          <a:custGeom>
            <a:avLst/>
            <a:gdLst>
              <a:gd name="T0" fmla="*/ 0 w 46"/>
              <a:gd name="T1" fmla="*/ 0 h 15"/>
              <a:gd name="T2" fmla="*/ 31 w 46"/>
              <a:gd name="T3" fmla="*/ 0 h 15"/>
              <a:gd name="T4" fmla="*/ 40 w 46"/>
              <a:gd name="T5" fmla="*/ 5 h 15"/>
              <a:gd name="T6" fmla="*/ 46 w 46"/>
              <a:gd name="T7" fmla="*/ 13 h 15"/>
              <a:gd name="T8" fmla="*/ 40 w 46"/>
              <a:gd name="T9" fmla="*/ 15 h 15"/>
              <a:gd name="T10" fmla="*/ 14 w 46"/>
              <a:gd name="T11" fmla="*/ 15 h 15"/>
              <a:gd name="T12" fmla="*/ 0 w 46"/>
              <a:gd name="T13" fmla="*/ 5 h 15"/>
              <a:gd name="T14" fmla="*/ 0 w 46"/>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 h="15">
                <a:moveTo>
                  <a:pt x="0" y="0"/>
                </a:moveTo>
                <a:lnTo>
                  <a:pt x="31" y="0"/>
                </a:lnTo>
                <a:lnTo>
                  <a:pt x="40" y="5"/>
                </a:lnTo>
                <a:lnTo>
                  <a:pt x="46" y="13"/>
                </a:lnTo>
                <a:lnTo>
                  <a:pt x="40" y="15"/>
                </a:lnTo>
                <a:lnTo>
                  <a:pt x="14" y="15"/>
                </a:lnTo>
                <a:lnTo>
                  <a:pt x="0" y="5"/>
                </a:lnTo>
                <a:lnTo>
                  <a:pt x="0"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44" name="Freeform 44">
            <a:extLst>
              <a:ext uri="{FF2B5EF4-FFF2-40B4-BE49-F238E27FC236}">
                <a16:creationId xmlns:a16="http://schemas.microsoft.com/office/drawing/2014/main" id="{7DF2B6D3-35FF-43B5-8E79-5BD5D439EC20}"/>
              </a:ext>
            </a:extLst>
          </p:cNvPr>
          <p:cNvSpPr>
            <a:spLocks/>
          </p:cNvSpPr>
          <p:nvPr>
            <p:custDataLst>
              <p:tags r:id="rId37"/>
            </p:custDataLst>
          </p:nvPr>
        </p:nvSpPr>
        <p:spPr bwMode="auto">
          <a:xfrm rot="120000">
            <a:off x="10253528" y="4112322"/>
            <a:ext cx="42861" cy="33337"/>
          </a:xfrm>
          <a:custGeom>
            <a:avLst/>
            <a:gdLst>
              <a:gd name="T0" fmla="*/ 3 w 27"/>
              <a:gd name="T1" fmla="*/ 0 h 20"/>
              <a:gd name="T2" fmla="*/ 17 w 27"/>
              <a:gd name="T3" fmla="*/ 0 h 20"/>
              <a:gd name="T4" fmla="*/ 22 w 27"/>
              <a:gd name="T5" fmla="*/ 5 h 20"/>
              <a:gd name="T6" fmla="*/ 27 w 27"/>
              <a:gd name="T7" fmla="*/ 17 h 20"/>
              <a:gd name="T8" fmla="*/ 25 w 27"/>
              <a:gd name="T9" fmla="*/ 20 h 20"/>
              <a:gd name="T10" fmla="*/ 11 w 27"/>
              <a:gd name="T11" fmla="*/ 20 h 20"/>
              <a:gd name="T12" fmla="*/ 3 w 27"/>
              <a:gd name="T13" fmla="*/ 17 h 20"/>
              <a:gd name="T14" fmla="*/ 0 w 27"/>
              <a:gd name="T15" fmla="*/ 10 h 20"/>
              <a:gd name="T16" fmla="*/ 0 w 27"/>
              <a:gd name="T17" fmla="*/ 2 h 20"/>
              <a:gd name="T18" fmla="*/ 3 w 27"/>
              <a:gd name="T1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20">
                <a:moveTo>
                  <a:pt x="3" y="0"/>
                </a:moveTo>
                <a:lnTo>
                  <a:pt x="17" y="0"/>
                </a:lnTo>
                <a:lnTo>
                  <a:pt x="22" y="5"/>
                </a:lnTo>
                <a:lnTo>
                  <a:pt x="27" y="17"/>
                </a:lnTo>
                <a:lnTo>
                  <a:pt x="25" y="20"/>
                </a:lnTo>
                <a:lnTo>
                  <a:pt x="11" y="20"/>
                </a:lnTo>
                <a:lnTo>
                  <a:pt x="3" y="17"/>
                </a:lnTo>
                <a:lnTo>
                  <a:pt x="0" y="10"/>
                </a:lnTo>
                <a:lnTo>
                  <a:pt x="0" y="2"/>
                </a:lnTo>
                <a:lnTo>
                  <a:pt x="3"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45" name="Freeform 45">
            <a:extLst>
              <a:ext uri="{FF2B5EF4-FFF2-40B4-BE49-F238E27FC236}">
                <a16:creationId xmlns:a16="http://schemas.microsoft.com/office/drawing/2014/main" id="{57BBA08D-25B0-47C1-A079-3D6DD147CE95}"/>
              </a:ext>
            </a:extLst>
          </p:cNvPr>
          <p:cNvSpPr>
            <a:spLocks/>
          </p:cNvSpPr>
          <p:nvPr>
            <p:custDataLst>
              <p:tags r:id="rId38"/>
            </p:custDataLst>
          </p:nvPr>
        </p:nvSpPr>
        <p:spPr bwMode="auto">
          <a:xfrm rot="120000">
            <a:off x="10534508" y="4161535"/>
            <a:ext cx="403213" cy="368289"/>
          </a:xfrm>
          <a:custGeom>
            <a:avLst/>
            <a:gdLst>
              <a:gd name="T0" fmla="*/ 174 w 248"/>
              <a:gd name="T1" fmla="*/ 2 h 226"/>
              <a:gd name="T2" fmla="*/ 216 w 248"/>
              <a:gd name="T3" fmla="*/ 23 h 226"/>
              <a:gd name="T4" fmla="*/ 237 w 248"/>
              <a:gd name="T5" fmla="*/ 48 h 226"/>
              <a:gd name="T6" fmla="*/ 239 w 248"/>
              <a:gd name="T7" fmla="*/ 110 h 226"/>
              <a:gd name="T8" fmla="*/ 248 w 248"/>
              <a:gd name="T9" fmla="*/ 153 h 226"/>
              <a:gd name="T10" fmla="*/ 237 w 248"/>
              <a:gd name="T11" fmla="*/ 177 h 226"/>
              <a:gd name="T12" fmla="*/ 223 w 248"/>
              <a:gd name="T13" fmla="*/ 166 h 226"/>
              <a:gd name="T14" fmla="*/ 216 w 248"/>
              <a:gd name="T15" fmla="*/ 148 h 226"/>
              <a:gd name="T16" fmla="*/ 201 w 248"/>
              <a:gd name="T17" fmla="*/ 153 h 226"/>
              <a:gd name="T18" fmla="*/ 201 w 248"/>
              <a:gd name="T19" fmla="*/ 185 h 226"/>
              <a:gd name="T20" fmla="*/ 212 w 248"/>
              <a:gd name="T21" fmla="*/ 208 h 226"/>
              <a:gd name="T22" fmla="*/ 199 w 248"/>
              <a:gd name="T23" fmla="*/ 221 h 226"/>
              <a:gd name="T24" fmla="*/ 180 w 248"/>
              <a:gd name="T25" fmla="*/ 218 h 226"/>
              <a:gd name="T26" fmla="*/ 161 w 248"/>
              <a:gd name="T27" fmla="*/ 226 h 226"/>
              <a:gd name="T28" fmla="*/ 134 w 248"/>
              <a:gd name="T29" fmla="*/ 221 h 226"/>
              <a:gd name="T30" fmla="*/ 118 w 248"/>
              <a:gd name="T31" fmla="*/ 203 h 226"/>
              <a:gd name="T32" fmla="*/ 110 w 248"/>
              <a:gd name="T33" fmla="*/ 158 h 226"/>
              <a:gd name="T34" fmla="*/ 85 w 248"/>
              <a:gd name="T35" fmla="*/ 148 h 226"/>
              <a:gd name="T36" fmla="*/ 77 w 248"/>
              <a:gd name="T37" fmla="*/ 161 h 226"/>
              <a:gd name="T38" fmla="*/ 63 w 248"/>
              <a:gd name="T39" fmla="*/ 168 h 226"/>
              <a:gd name="T40" fmla="*/ 45 w 248"/>
              <a:gd name="T41" fmla="*/ 179 h 226"/>
              <a:gd name="T42" fmla="*/ 32 w 248"/>
              <a:gd name="T43" fmla="*/ 174 h 226"/>
              <a:gd name="T44" fmla="*/ 18 w 248"/>
              <a:gd name="T45" fmla="*/ 203 h 226"/>
              <a:gd name="T46" fmla="*/ 4 w 248"/>
              <a:gd name="T47" fmla="*/ 197 h 226"/>
              <a:gd name="T48" fmla="*/ 4 w 248"/>
              <a:gd name="T49" fmla="*/ 153 h 226"/>
              <a:gd name="T50" fmla="*/ 21 w 248"/>
              <a:gd name="T51" fmla="*/ 138 h 226"/>
              <a:gd name="T52" fmla="*/ 47 w 248"/>
              <a:gd name="T53" fmla="*/ 125 h 226"/>
              <a:gd name="T54" fmla="*/ 62 w 248"/>
              <a:gd name="T55" fmla="*/ 107 h 226"/>
              <a:gd name="T56" fmla="*/ 77 w 248"/>
              <a:gd name="T57" fmla="*/ 96 h 226"/>
              <a:gd name="T58" fmla="*/ 102 w 248"/>
              <a:gd name="T59" fmla="*/ 114 h 226"/>
              <a:gd name="T60" fmla="*/ 112 w 248"/>
              <a:gd name="T61" fmla="*/ 90 h 226"/>
              <a:gd name="T62" fmla="*/ 125 w 248"/>
              <a:gd name="T63" fmla="*/ 75 h 226"/>
              <a:gd name="T64" fmla="*/ 128 w 248"/>
              <a:gd name="T65" fmla="*/ 65 h 226"/>
              <a:gd name="T66" fmla="*/ 152 w 248"/>
              <a:gd name="T67" fmla="*/ 48 h 226"/>
              <a:gd name="T68" fmla="*/ 172 w 248"/>
              <a:gd name="T69" fmla="*/ 47 h 226"/>
              <a:gd name="T70" fmla="*/ 161 w 248"/>
              <a:gd name="T71" fmla="*/ 21 h 226"/>
              <a:gd name="T72" fmla="*/ 164 w 248"/>
              <a:gd name="T7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8" h="226">
                <a:moveTo>
                  <a:pt x="164" y="0"/>
                </a:moveTo>
                <a:lnTo>
                  <a:pt x="174" y="2"/>
                </a:lnTo>
                <a:lnTo>
                  <a:pt x="194" y="8"/>
                </a:lnTo>
                <a:lnTo>
                  <a:pt x="216" y="23"/>
                </a:lnTo>
                <a:lnTo>
                  <a:pt x="231" y="39"/>
                </a:lnTo>
                <a:lnTo>
                  <a:pt x="237" y="48"/>
                </a:lnTo>
                <a:lnTo>
                  <a:pt x="239" y="85"/>
                </a:lnTo>
                <a:lnTo>
                  <a:pt x="239" y="110"/>
                </a:lnTo>
                <a:lnTo>
                  <a:pt x="242" y="133"/>
                </a:lnTo>
                <a:lnTo>
                  <a:pt x="248" y="153"/>
                </a:lnTo>
                <a:lnTo>
                  <a:pt x="248" y="164"/>
                </a:lnTo>
                <a:lnTo>
                  <a:pt x="237" y="177"/>
                </a:lnTo>
                <a:lnTo>
                  <a:pt x="229" y="174"/>
                </a:lnTo>
                <a:lnTo>
                  <a:pt x="223" y="166"/>
                </a:lnTo>
                <a:lnTo>
                  <a:pt x="221" y="158"/>
                </a:lnTo>
                <a:lnTo>
                  <a:pt x="216" y="148"/>
                </a:lnTo>
                <a:lnTo>
                  <a:pt x="205" y="150"/>
                </a:lnTo>
                <a:lnTo>
                  <a:pt x="201" y="153"/>
                </a:lnTo>
                <a:lnTo>
                  <a:pt x="199" y="174"/>
                </a:lnTo>
                <a:lnTo>
                  <a:pt x="201" y="185"/>
                </a:lnTo>
                <a:lnTo>
                  <a:pt x="208" y="192"/>
                </a:lnTo>
                <a:lnTo>
                  <a:pt x="212" y="208"/>
                </a:lnTo>
                <a:lnTo>
                  <a:pt x="211" y="213"/>
                </a:lnTo>
                <a:lnTo>
                  <a:pt x="199" y="221"/>
                </a:lnTo>
                <a:lnTo>
                  <a:pt x="191" y="221"/>
                </a:lnTo>
                <a:lnTo>
                  <a:pt x="180" y="218"/>
                </a:lnTo>
                <a:lnTo>
                  <a:pt x="180" y="226"/>
                </a:lnTo>
                <a:lnTo>
                  <a:pt x="161" y="226"/>
                </a:lnTo>
                <a:lnTo>
                  <a:pt x="150" y="223"/>
                </a:lnTo>
                <a:lnTo>
                  <a:pt x="134" y="221"/>
                </a:lnTo>
                <a:lnTo>
                  <a:pt x="123" y="213"/>
                </a:lnTo>
                <a:lnTo>
                  <a:pt x="118" y="203"/>
                </a:lnTo>
                <a:lnTo>
                  <a:pt x="110" y="192"/>
                </a:lnTo>
                <a:lnTo>
                  <a:pt x="110" y="158"/>
                </a:lnTo>
                <a:lnTo>
                  <a:pt x="105" y="150"/>
                </a:lnTo>
                <a:lnTo>
                  <a:pt x="85" y="148"/>
                </a:lnTo>
                <a:lnTo>
                  <a:pt x="83" y="150"/>
                </a:lnTo>
                <a:lnTo>
                  <a:pt x="77" y="161"/>
                </a:lnTo>
                <a:lnTo>
                  <a:pt x="66" y="166"/>
                </a:lnTo>
                <a:lnTo>
                  <a:pt x="63" y="168"/>
                </a:lnTo>
                <a:lnTo>
                  <a:pt x="59" y="179"/>
                </a:lnTo>
                <a:lnTo>
                  <a:pt x="45" y="179"/>
                </a:lnTo>
                <a:lnTo>
                  <a:pt x="40" y="174"/>
                </a:lnTo>
                <a:lnTo>
                  <a:pt x="32" y="174"/>
                </a:lnTo>
                <a:lnTo>
                  <a:pt x="32" y="185"/>
                </a:lnTo>
                <a:lnTo>
                  <a:pt x="18" y="203"/>
                </a:lnTo>
                <a:lnTo>
                  <a:pt x="7" y="203"/>
                </a:lnTo>
                <a:lnTo>
                  <a:pt x="4" y="197"/>
                </a:lnTo>
                <a:lnTo>
                  <a:pt x="0" y="166"/>
                </a:lnTo>
                <a:lnTo>
                  <a:pt x="4" y="153"/>
                </a:lnTo>
                <a:lnTo>
                  <a:pt x="13" y="142"/>
                </a:lnTo>
                <a:lnTo>
                  <a:pt x="21" y="138"/>
                </a:lnTo>
                <a:lnTo>
                  <a:pt x="32" y="135"/>
                </a:lnTo>
                <a:lnTo>
                  <a:pt x="47" y="125"/>
                </a:lnTo>
                <a:lnTo>
                  <a:pt x="50" y="114"/>
                </a:lnTo>
                <a:lnTo>
                  <a:pt x="62" y="107"/>
                </a:lnTo>
                <a:lnTo>
                  <a:pt x="72" y="96"/>
                </a:lnTo>
                <a:lnTo>
                  <a:pt x="77" y="96"/>
                </a:lnTo>
                <a:lnTo>
                  <a:pt x="91" y="107"/>
                </a:lnTo>
                <a:lnTo>
                  <a:pt x="102" y="114"/>
                </a:lnTo>
                <a:lnTo>
                  <a:pt x="112" y="104"/>
                </a:lnTo>
                <a:lnTo>
                  <a:pt x="112" y="90"/>
                </a:lnTo>
                <a:lnTo>
                  <a:pt x="118" y="88"/>
                </a:lnTo>
                <a:lnTo>
                  <a:pt x="125" y="75"/>
                </a:lnTo>
                <a:lnTo>
                  <a:pt x="123" y="67"/>
                </a:lnTo>
                <a:lnTo>
                  <a:pt x="128" y="65"/>
                </a:lnTo>
                <a:lnTo>
                  <a:pt x="142" y="57"/>
                </a:lnTo>
                <a:lnTo>
                  <a:pt x="152" y="48"/>
                </a:lnTo>
                <a:lnTo>
                  <a:pt x="169" y="48"/>
                </a:lnTo>
                <a:lnTo>
                  <a:pt x="172" y="47"/>
                </a:lnTo>
                <a:lnTo>
                  <a:pt x="172" y="41"/>
                </a:lnTo>
                <a:lnTo>
                  <a:pt x="161" y="21"/>
                </a:lnTo>
                <a:lnTo>
                  <a:pt x="158" y="5"/>
                </a:lnTo>
                <a:lnTo>
                  <a:pt x="164"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46" name="Freeform 46">
            <a:extLst>
              <a:ext uri="{FF2B5EF4-FFF2-40B4-BE49-F238E27FC236}">
                <a16:creationId xmlns:a16="http://schemas.microsoft.com/office/drawing/2014/main" id="{442E477C-E4D5-4E15-9BCA-56593662AAD5}"/>
              </a:ext>
            </a:extLst>
          </p:cNvPr>
          <p:cNvSpPr>
            <a:spLocks/>
          </p:cNvSpPr>
          <p:nvPr>
            <p:custDataLst>
              <p:tags r:id="rId39"/>
            </p:custDataLst>
          </p:nvPr>
        </p:nvSpPr>
        <p:spPr bwMode="auto">
          <a:xfrm rot="120000">
            <a:off x="10521806" y="4509188"/>
            <a:ext cx="58737" cy="41274"/>
          </a:xfrm>
          <a:custGeom>
            <a:avLst/>
            <a:gdLst>
              <a:gd name="T0" fmla="*/ 16 w 36"/>
              <a:gd name="T1" fmla="*/ 0 h 25"/>
              <a:gd name="T2" fmla="*/ 31 w 36"/>
              <a:gd name="T3" fmla="*/ 0 h 25"/>
              <a:gd name="T4" fmla="*/ 36 w 36"/>
              <a:gd name="T5" fmla="*/ 3 h 25"/>
              <a:gd name="T6" fmla="*/ 36 w 36"/>
              <a:gd name="T7" fmla="*/ 12 h 25"/>
              <a:gd name="T8" fmla="*/ 27 w 36"/>
              <a:gd name="T9" fmla="*/ 15 h 25"/>
              <a:gd name="T10" fmla="*/ 16 w 36"/>
              <a:gd name="T11" fmla="*/ 17 h 25"/>
              <a:gd name="T12" fmla="*/ 5 w 36"/>
              <a:gd name="T13" fmla="*/ 25 h 25"/>
              <a:gd name="T14" fmla="*/ 3 w 36"/>
              <a:gd name="T15" fmla="*/ 23 h 25"/>
              <a:gd name="T16" fmla="*/ 0 w 36"/>
              <a:gd name="T17" fmla="*/ 12 h 25"/>
              <a:gd name="T18" fmla="*/ 5 w 36"/>
              <a:gd name="T19" fmla="*/ 8 h 25"/>
              <a:gd name="T20" fmla="*/ 16 w 36"/>
              <a:gd name="T2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25">
                <a:moveTo>
                  <a:pt x="16" y="0"/>
                </a:moveTo>
                <a:lnTo>
                  <a:pt x="31" y="0"/>
                </a:lnTo>
                <a:lnTo>
                  <a:pt x="36" y="3"/>
                </a:lnTo>
                <a:lnTo>
                  <a:pt x="36" y="12"/>
                </a:lnTo>
                <a:lnTo>
                  <a:pt x="27" y="15"/>
                </a:lnTo>
                <a:lnTo>
                  <a:pt x="16" y="17"/>
                </a:lnTo>
                <a:lnTo>
                  <a:pt x="5" y="25"/>
                </a:lnTo>
                <a:lnTo>
                  <a:pt x="3" y="23"/>
                </a:lnTo>
                <a:lnTo>
                  <a:pt x="0" y="12"/>
                </a:lnTo>
                <a:lnTo>
                  <a:pt x="5" y="8"/>
                </a:lnTo>
                <a:lnTo>
                  <a:pt x="16"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47" name="Freeform 47">
            <a:extLst>
              <a:ext uri="{FF2B5EF4-FFF2-40B4-BE49-F238E27FC236}">
                <a16:creationId xmlns:a16="http://schemas.microsoft.com/office/drawing/2014/main" id="{D699535A-0857-4A76-BAAE-B038D470B04F}"/>
              </a:ext>
            </a:extLst>
          </p:cNvPr>
          <p:cNvSpPr>
            <a:spLocks/>
          </p:cNvSpPr>
          <p:nvPr>
            <p:custDataLst>
              <p:tags r:id="rId40"/>
            </p:custDataLst>
          </p:nvPr>
        </p:nvSpPr>
        <p:spPr bwMode="auto">
          <a:xfrm rot="120000">
            <a:off x="10950420" y="4585386"/>
            <a:ext cx="47624" cy="74611"/>
          </a:xfrm>
          <a:custGeom>
            <a:avLst/>
            <a:gdLst>
              <a:gd name="T0" fmla="*/ 3 w 29"/>
              <a:gd name="T1" fmla="*/ 0 h 46"/>
              <a:gd name="T2" fmla="*/ 23 w 29"/>
              <a:gd name="T3" fmla="*/ 0 h 46"/>
              <a:gd name="T4" fmla="*/ 25 w 29"/>
              <a:gd name="T5" fmla="*/ 2 h 46"/>
              <a:gd name="T6" fmla="*/ 29 w 29"/>
              <a:gd name="T7" fmla="*/ 18 h 46"/>
              <a:gd name="T8" fmla="*/ 23 w 29"/>
              <a:gd name="T9" fmla="*/ 28 h 46"/>
              <a:gd name="T10" fmla="*/ 23 w 29"/>
              <a:gd name="T11" fmla="*/ 44 h 46"/>
              <a:gd name="T12" fmla="*/ 14 w 29"/>
              <a:gd name="T13" fmla="*/ 46 h 46"/>
              <a:gd name="T14" fmla="*/ 3 w 29"/>
              <a:gd name="T15" fmla="*/ 46 h 46"/>
              <a:gd name="T16" fmla="*/ 3 w 29"/>
              <a:gd name="T17" fmla="*/ 38 h 46"/>
              <a:gd name="T18" fmla="*/ 9 w 29"/>
              <a:gd name="T19" fmla="*/ 28 h 46"/>
              <a:gd name="T20" fmla="*/ 3 w 29"/>
              <a:gd name="T21" fmla="*/ 15 h 46"/>
              <a:gd name="T22" fmla="*/ 0 w 29"/>
              <a:gd name="T23" fmla="*/ 2 h 46"/>
              <a:gd name="T24" fmla="*/ 3 w 29"/>
              <a:gd name="T2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46">
                <a:moveTo>
                  <a:pt x="3" y="0"/>
                </a:moveTo>
                <a:lnTo>
                  <a:pt x="23" y="0"/>
                </a:lnTo>
                <a:lnTo>
                  <a:pt x="25" y="2"/>
                </a:lnTo>
                <a:lnTo>
                  <a:pt x="29" y="18"/>
                </a:lnTo>
                <a:lnTo>
                  <a:pt x="23" y="28"/>
                </a:lnTo>
                <a:lnTo>
                  <a:pt x="23" y="44"/>
                </a:lnTo>
                <a:lnTo>
                  <a:pt x="14" y="46"/>
                </a:lnTo>
                <a:lnTo>
                  <a:pt x="3" y="46"/>
                </a:lnTo>
                <a:lnTo>
                  <a:pt x="3" y="38"/>
                </a:lnTo>
                <a:lnTo>
                  <a:pt x="9" y="28"/>
                </a:lnTo>
                <a:lnTo>
                  <a:pt x="3" y="15"/>
                </a:lnTo>
                <a:lnTo>
                  <a:pt x="0" y="2"/>
                </a:lnTo>
                <a:lnTo>
                  <a:pt x="3"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48" name="Freeform 48">
            <a:extLst>
              <a:ext uri="{FF2B5EF4-FFF2-40B4-BE49-F238E27FC236}">
                <a16:creationId xmlns:a16="http://schemas.microsoft.com/office/drawing/2014/main" id="{E37F9BF1-4BCB-4AD6-B079-33F82E7D978B}"/>
              </a:ext>
            </a:extLst>
          </p:cNvPr>
          <p:cNvSpPr>
            <a:spLocks/>
          </p:cNvSpPr>
          <p:nvPr>
            <p:custDataLst>
              <p:tags r:id="rId41"/>
            </p:custDataLst>
          </p:nvPr>
        </p:nvSpPr>
        <p:spPr bwMode="auto">
          <a:xfrm rot="120000">
            <a:off x="10434498" y="4591736"/>
            <a:ext cx="87309" cy="41274"/>
          </a:xfrm>
          <a:custGeom>
            <a:avLst/>
            <a:gdLst>
              <a:gd name="T0" fmla="*/ 36 w 53"/>
              <a:gd name="T1" fmla="*/ 0 h 25"/>
              <a:gd name="T2" fmla="*/ 50 w 53"/>
              <a:gd name="T3" fmla="*/ 2 h 25"/>
              <a:gd name="T4" fmla="*/ 53 w 53"/>
              <a:gd name="T5" fmla="*/ 8 h 25"/>
              <a:gd name="T6" fmla="*/ 53 w 53"/>
              <a:gd name="T7" fmla="*/ 13 h 25"/>
              <a:gd name="T8" fmla="*/ 50 w 53"/>
              <a:gd name="T9" fmla="*/ 17 h 25"/>
              <a:gd name="T10" fmla="*/ 44 w 53"/>
              <a:gd name="T11" fmla="*/ 21 h 25"/>
              <a:gd name="T12" fmla="*/ 33 w 53"/>
              <a:gd name="T13" fmla="*/ 23 h 25"/>
              <a:gd name="T14" fmla="*/ 6 w 53"/>
              <a:gd name="T15" fmla="*/ 25 h 25"/>
              <a:gd name="T16" fmla="*/ 0 w 53"/>
              <a:gd name="T17" fmla="*/ 21 h 25"/>
              <a:gd name="T18" fmla="*/ 0 w 53"/>
              <a:gd name="T19" fmla="*/ 17 h 25"/>
              <a:gd name="T20" fmla="*/ 6 w 53"/>
              <a:gd name="T21" fmla="*/ 8 h 25"/>
              <a:gd name="T22" fmla="*/ 9 w 53"/>
              <a:gd name="T23" fmla="*/ 5 h 25"/>
              <a:gd name="T24" fmla="*/ 18 w 53"/>
              <a:gd name="T25" fmla="*/ 5 h 25"/>
              <a:gd name="T26" fmla="*/ 28 w 53"/>
              <a:gd name="T27" fmla="*/ 10 h 25"/>
              <a:gd name="T28" fmla="*/ 31 w 53"/>
              <a:gd name="T29" fmla="*/ 8 h 25"/>
              <a:gd name="T30" fmla="*/ 36 w 53"/>
              <a:gd name="T3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25">
                <a:moveTo>
                  <a:pt x="36" y="0"/>
                </a:moveTo>
                <a:lnTo>
                  <a:pt x="50" y="2"/>
                </a:lnTo>
                <a:lnTo>
                  <a:pt x="53" y="8"/>
                </a:lnTo>
                <a:lnTo>
                  <a:pt x="53" y="13"/>
                </a:lnTo>
                <a:lnTo>
                  <a:pt x="50" y="17"/>
                </a:lnTo>
                <a:lnTo>
                  <a:pt x="44" y="21"/>
                </a:lnTo>
                <a:lnTo>
                  <a:pt x="33" y="23"/>
                </a:lnTo>
                <a:lnTo>
                  <a:pt x="6" y="25"/>
                </a:lnTo>
                <a:lnTo>
                  <a:pt x="0" y="21"/>
                </a:lnTo>
                <a:lnTo>
                  <a:pt x="0" y="17"/>
                </a:lnTo>
                <a:lnTo>
                  <a:pt x="6" y="8"/>
                </a:lnTo>
                <a:lnTo>
                  <a:pt x="9" y="5"/>
                </a:lnTo>
                <a:lnTo>
                  <a:pt x="18" y="5"/>
                </a:lnTo>
                <a:lnTo>
                  <a:pt x="28" y="10"/>
                </a:lnTo>
                <a:lnTo>
                  <a:pt x="31" y="8"/>
                </a:lnTo>
                <a:lnTo>
                  <a:pt x="36"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49" name="Freeform 49">
            <a:extLst>
              <a:ext uri="{FF2B5EF4-FFF2-40B4-BE49-F238E27FC236}">
                <a16:creationId xmlns:a16="http://schemas.microsoft.com/office/drawing/2014/main" id="{FF9ECA95-52A1-4538-98C5-75B601DAFA23}"/>
              </a:ext>
            </a:extLst>
          </p:cNvPr>
          <p:cNvSpPr>
            <a:spLocks/>
          </p:cNvSpPr>
          <p:nvPr>
            <p:custDataLst>
              <p:tags r:id="rId42"/>
            </p:custDataLst>
          </p:nvPr>
        </p:nvSpPr>
        <p:spPr bwMode="auto">
          <a:xfrm rot="120000">
            <a:off x="10871047" y="4686983"/>
            <a:ext cx="39687" cy="41274"/>
          </a:xfrm>
          <a:custGeom>
            <a:avLst/>
            <a:gdLst>
              <a:gd name="T0" fmla="*/ 7 w 23"/>
              <a:gd name="T1" fmla="*/ 0 h 27"/>
              <a:gd name="T2" fmla="*/ 19 w 23"/>
              <a:gd name="T3" fmla="*/ 6 h 27"/>
              <a:gd name="T4" fmla="*/ 23 w 23"/>
              <a:gd name="T5" fmla="*/ 16 h 27"/>
              <a:gd name="T6" fmla="*/ 23 w 23"/>
              <a:gd name="T7" fmla="*/ 24 h 27"/>
              <a:gd name="T8" fmla="*/ 19 w 23"/>
              <a:gd name="T9" fmla="*/ 27 h 27"/>
              <a:gd name="T10" fmla="*/ 7 w 23"/>
              <a:gd name="T11" fmla="*/ 27 h 27"/>
              <a:gd name="T12" fmla="*/ 5 w 23"/>
              <a:gd name="T13" fmla="*/ 24 h 27"/>
              <a:gd name="T14" fmla="*/ 0 w 23"/>
              <a:gd name="T15" fmla="*/ 14 h 27"/>
              <a:gd name="T16" fmla="*/ 5 w 23"/>
              <a:gd name="T17" fmla="*/ 3 h 27"/>
              <a:gd name="T18" fmla="*/ 7 w 23"/>
              <a:gd name="T19"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7">
                <a:moveTo>
                  <a:pt x="7" y="0"/>
                </a:moveTo>
                <a:lnTo>
                  <a:pt x="19" y="6"/>
                </a:lnTo>
                <a:lnTo>
                  <a:pt x="23" y="16"/>
                </a:lnTo>
                <a:lnTo>
                  <a:pt x="23" y="24"/>
                </a:lnTo>
                <a:lnTo>
                  <a:pt x="19" y="27"/>
                </a:lnTo>
                <a:lnTo>
                  <a:pt x="7" y="27"/>
                </a:lnTo>
                <a:lnTo>
                  <a:pt x="5" y="24"/>
                </a:lnTo>
                <a:lnTo>
                  <a:pt x="0" y="14"/>
                </a:lnTo>
                <a:lnTo>
                  <a:pt x="5" y="3"/>
                </a:lnTo>
                <a:lnTo>
                  <a:pt x="7"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50" name="Freeform 50">
            <a:extLst>
              <a:ext uri="{FF2B5EF4-FFF2-40B4-BE49-F238E27FC236}">
                <a16:creationId xmlns:a16="http://schemas.microsoft.com/office/drawing/2014/main" id="{4E087480-74A5-41E4-9C98-4C953BCAC449}"/>
              </a:ext>
            </a:extLst>
          </p:cNvPr>
          <p:cNvSpPr>
            <a:spLocks/>
          </p:cNvSpPr>
          <p:nvPr>
            <p:custDataLst>
              <p:tags r:id="rId43"/>
            </p:custDataLst>
          </p:nvPr>
        </p:nvSpPr>
        <p:spPr bwMode="auto">
          <a:xfrm rot="120000">
            <a:off x="10337663" y="4682218"/>
            <a:ext cx="71436" cy="50799"/>
          </a:xfrm>
          <a:custGeom>
            <a:avLst/>
            <a:gdLst>
              <a:gd name="T0" fmla="*/ 33 w 43"/>
              <a:gd name="T1" fmla="*/ 0 h 33"/>
              <a:gd name="T2" fmla="*/ 43 w 43"/>
              <a:gd name="T3" fmla="*/ 8 h 33"/>
              <a:gd name="T4" fmla="*/ 43 w 43"/>
              <a:gd name="T5" fmla="*/ 12 h 33"/>
              <a:gd name="T6" fmla="*/ 30 w 43"/>
              <a:gd name="T7" fmla="*/ 25 h 33"/>
              <a:gd name="T8" fmla="*/ 18 w 43"/>
              <a:gd name="T9" fmla="*/ 33 h 33"/>
              <a:gd name="T10" fmla="*/ 2 w 43"/>
              <a:gd name="T11" fmla="*/ 33 h 33"/>
              <a:gd name="T12" fmla="*/ 0 w 43"/>
              <a:gd name="T13" fmla="*/ 30 h 33"/>
              <a:gd name="T14" fmla="*/ 0 w 43"/>
              <a:gd name="T15" fmla="*/ 25 h 33"/>
              <a:gd name="T16" fmla="*/ 5 w 43"/>
              <a:gd name="T17" fmla="*/ 15 h 33"/>
              <a:gd name="T18" fmla="*/ 11 w 43"/>
              <a:gd name="T19" fmla="*/ 12 h 33"/>
              <a:gd name="T20" fmla="*/ 24 w 43"/>
              <a:gd name="T21" fmla="*/ 2 h 33"/>
              <a:gd name="T22" fmla="*/ 33 w 43"/>
              <a:gd name="T23"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3">
                <a:moveTo>
                  <a:pt x="33" y="0"/>
                </a:moveTo>
                <a:lnTo>
                  <a:pt x="43" y="8"/>
                </a:lnTo>
                <a:lnTo>
                  <a:pt x="43" y="12"/>
                </a:lnTo>
                <a:lnTo>
                  <a:pt x="30" y="25"/>
                </a:lnTo>
                <a:lnTo>
                  <a:pt x="18" y="33"/>
                </a:lnTo>
                <a:lnTo>
                  <a:pt x="2" y="33"/>
                </a:lnTo>
                <a:lnTo>
                  <a:pt x="0" y="30"/>
                </a:lnTo>
                <a:lnTo>
                  <a:pt x="0" y="25"/>
                </a:lnTo>
                <a:lnTo>
                  <a:pt x="5" y="15"/>
                </a:lnTo>
                <a:lnTo>
                  <a:pt x="11" y="12"/>
                </a:lnTo>
                <a:lnTo>
                  <a:pt x="24" y="2"/>
                </a:lnTo>
                <a:lnTo>
                  <a:pt x="33"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51" name="Freeform 51">
            <a:extLst>
              <a:ext uri="{FF2B5EF4-FFF2-40B4-BE49-F238E27FC236}">
                <a16:creationId xmlns:a16="http://schemas.microsoft.com/office/drawing/2014/main" id="{56BBC3F6-CC92-44FB-8F27-B2B10144ABA0}"/>
              </a:ext>
            </a:extLst>
          </p:cNvPr>
          <p:cNvSpPr>
            <a:spLocks/>
          </p:cNvSpPr>
          <p:nvPr>
            <p:custDataLst>
              <p:tags r:id="rId44"/>
            </p:custDataLst>
          </p:nvPr>
        </p:nvSpPr>
        <p:spPr bwMode="auto">
          <a:xfrm rot="120000">
            <a:off x="11067893" y="4755244"/>
            <a:ext cx="155570" cy="250818"/>
          </a:xfrm>
          <a:custGeom>
            <a:avLst/>
            <a:gdLst>
              <a:gd name="T0" fmla="*/ 22 w 95"/>
              <a:gd name="T1" fmla="*/ 0 h 153"/>
              <a:gd name="T2" fmla="*/ 33 w 95"/>
              <a:gd name="T3" fmla="*/ 0 h 153"/>
              <a:gd name="T4" fmla="*/ 39 w 95"/>
              <a:gd name="T5" fmla="*/ 5 h 153"/>
              <a:gd name="T6" fmla="*/ 41 w 95"/>
              <a:gd name="T7" fmla="*/ 18 h 153"/>
              <a:gd name="T8" fmla="*/ 44 w 95"/>
              <a:gd name="T9" fmla="*/ 28 h 153"/>
              <a:gd name="T10" fmla="*/ 33 w 95"/>
              <a:gd name="T11" fmla="*/ 41 h 153"/>
              <a:gd name="T12" fmla="*/ 33 w 95"/>
              <a:gd name="T13" fmla="*/ 62 h 153"/>
              <a:gd name="T14" fmla="*/ 37 w 95"/>
              <a:gd name="T15" fmla="*/ 65 h 153"/>
              <a:gd name="T16" fmla="*/ 39 w 95"/>
              <a:gd name="T17" fmla="*/ 62 h 153"/>
              <a:gd name="T18" fmla="*/ 41 w 95"/>
              <a:gd name="T19" fmla="*/ 49 h 153"/>
              <a:gd name="T20" fmla="*/ 49 w 95"/>
              <a:gd name="T21" fmla="*/ 39 h 153"/>
              <a:gd name="T22" fmla="*/ 50 w 95"/>
              <a:gd name="T23" fmla="*/ 28 h 153"/>
              <a:gd name="T24" fmla="*/ 54 w 95"/>
              <a:gd name="T25" fmla="*/ 23 h 153"/>
              <a:gd name="T26" fmla="*/ 62 w 95"/>
              <a:gd name="T27" fmla="*/ 18 h 153"/>
              <a:gd name="T28" fmla="*/ 70 w 95"/>
              <a:gd name="T29" fmla="*/ 18 h 153"/>
              <a:gd name="T30" fmla="*/ 75 w 95"/>
              <a:gd name="T31" fmla="*/ 20 h 153"/>
              <a:gd name="T32" fmla="*/ 75 w 95"/>
              <a:gd name="T33" fmla="*/ 36 h 153"/>
              <a:gd name="T34" fmla="*/ 65 w 95"/>
              <a:gd name="T35" fmla="*/ 52 h 153"/>
              <a:gd name="T36" fmla="*/ 59 w 95"/>
              <a:gd name="T37" fmla="*/ 65 h 153"/>
              <a:gd name="T38" fmla="*/ 62 w 95"/>
              <a:gd name="T39" fmla="*/ 68 h 153"/>
              <a:gd name="T40" fmla="*/ 68 w 95"/>
              <a:gd name="T41" fmla="*/ 68 h 153"/>
              <a:gd name="T42" fmla="*/ 87 w 95"/>
              <a:gd name="T43" fmla="*/ 65 h 153"/>
              <a:gd name="T44" fmla="*/ 92 w 95"/>
              <a:gd name="T45" fmla="*/ 68 h 153"/>
              <a:gd name="T46" fmla="*/ 95 w 95"/>
              <a:gd name="T47" fmla="*/ 76 h 153"/>
              <a:gd name="T48" fmla="*/ 95 w 95"/>
              <a:gd name="T49" fmla="*/ 81 h 153"/>
              <a:gd name="T50" fmla="*/ 92 w 95"/>
              <a:gd name="T51" fmla="*/ 86 h 153"/>
              <a:gd name="T52" fmla="*/ 84 w 95"/>
              <a:gd name="T53" fmla="*/ 90 h 153"/>
              <a:gd name="T54" fmla="*/ 62 w 95"/>
              <a:gd name="T55" fmla="*/ 93 h 153"/>
              <a:gd name="T56" fmla="*/ 49 w 95"/>
              <a:gd name="T57" fmla="*/ 102 h 153"/>
              <a:gd name="T58" fmla="*/ 49 w 95"/>
              <a:gd name="T59" fmla="*/ 111 h 153"/>
              <a:gd name="T60" fmla="*/ 54 w 95"/>
              <a:gd name="T61" fmla="*/ 117 h 153"/>
              <a:gd name="T62" fmla="*/ 65 w 95"/>
              <a:gd name="T63" fmla="*/ 125 h 153"/>
              <a:gd name="T64" fmla="*/ 70 w 95"/>
              <a:gd name="T65" fmla="*/ 135 h 153"/>
              <a:gd name="T66" fmla="*/ 73 w 95"/>
              <a:gd name="T67" fmla="*/ 145 h 153"/>
              <a:gd name="T68" fmla="*/ 57 w 95"/>
              <a:gd name="T69" fmla="*/ 153 h 153"/>
              <a:gd name="T70" fmla="*/ 44 w 95"/>
              <a:gd name="T71" fmla="*/ 151 h 153"/>
              <a:gd name="T72" fmla="*/ 39 w 95"/>
              <a:gd name="T73" fmla="*/ 148 h 153"/>
              <a:gd name="T74" fmla="*/ 33 w 95"/>
              <a:gd name="T75" fmla="*/ 143 h 153"/>
              <a:gd name="T76" fmla="*/ 30 w 95"/>
              <a:gd name="T77" fmla="*/ 138 h 153"/>
              <a:gd name="T78" fmla="*/ 24 w 95"/>
              <a:gd name="T79" fmla="*/ 122 h 153"/>
              <a:gd name="T80" fmla="*/ 24 w 95"/>
              <a:gd name="T81" fmla="*/ 108 h 153"/>
              <a:gd name="T82" fmla="*/ 21 w 95"/>
              <a:gd name="T83" fmla="*/ 93 h 153"/>
              <a:gd name="T84" fmla="*/ 15 w 95"/>
              <a:gd name="T85" fmla="*/ 86 h 153"/>
              <a:gd name="T86" fmla="*/ 0 w 95"/>
              <a:gd name="T87" fmla="*/ 73 h 153"/>
              <a:gd name="T88" fmla="*/ 0 w 95"/>
              <a:gd name="T89" fmla="*/ 33 h 153"/>
              <a:gd name="T90" fmla="*/ 9 w 95"/>
              <a:gd name="T91" fmla="*/ 23 h 153"/>
              <a:gd name="T92" fmla="*/ 15 w 95"/>
              <a:gd name="T93" fmla="*/ 12 h 153"/>
              <a:gd name="T94" fmla="*/ 22 w 95"/>
              <a:gd name="T95"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 h="153">
                <a:moveTo>
                  <a:pt x="22" y="0"/>
                </a:moveTo>
                <a:lnTo>
                  <a:pt x="33" y="0"/>
                </a:lnTo>
                <a:lnTo>
                  <a:pt x="39" y="5"/>
                </a:lnTo>
                <a:lnTo>
                  <a:pt x="41" y="18"/>
                </a:lnTo>
                <a:lnTo>
                  <a:pt x="44" y="28"/>
                </a:lnTo>
                <a:lnTo>
                  <a:pt x="33" y="41"/>
                </a:lnTo>
                <a:lnTo>
                  <a:pt x="33" y="62"/>
                </a:lnTo>
                <a:lnTo>
                  <a:pt x="37" y="65"/>
                </a:lnTo>
                <a:lnTo>
                  <a:pt x="39" y="62"/>
                </a:lnTo>
                <a:lnTo>
                  <a:pt x="41" y="49"/>
                </a:lnTo>
                <a:lnTo>
                  <a:pt x="49" y="39"/>
                </a:lnTo>
                <a:lnTo>
                  <a:pt x="50" y="28"/>
                </a:lnTo>
                <a:lnTo>
                  <a:pt x="54" y="23"/>
                </a:lnTo>
                <a:lnTo>
                  <a:pt x="62" y="18"/>
                </a:lnTo>
                <a:lnTo>
                  <a:pt x="70" y="18"/>
                </a:lnTo>
                <a:lnTo>
                  <a:pt x="75" y="20"/>
                </a:lnTo>
                <a:lnTo>
                  <a:pt x="75" y="36"/>
                </a:lnTo>
                <a:lnTo>
                  <a:pt x="65" y="52"/>
                </a:lnTo>
                <a:lnTo>
                  <a:pt x="59" y="65"/>
                </a:lnTo>
                <a:lnTo>
                  <a:pt x="62" y="68"/>
                </a:lnTo>
                <a:lnTo>
                  <a:pt x="68" y="68"/>
                </a:lnTo>
                <a:lnTo>
                  <a:pt x="87" y="65"/>
                </a:lnTo>
                <a:lnTo>
                  <a:pt x="92" y="68"/>
                </a:lnTo>
                <a:lnTo>
                  <a:pt x="95" y="76"/>
                </a:lnTo>
                <a:lnTo>
                  <a:pt x="95" y="81"/>
                </a:lnTo>
                <a:lnTo>
                  <a:pt x="92" y="86"/>
                </a:lnTo>
                <a:lnTo>
                  <a:pt x="84" y="90"/>
                </a:lnTo>
                <a:lnTo>
                  <a:pt x="62" y="93"/>
                </a:lnTo>
                <a:lnTo>
                  <a:pt x="49" y="102"/>
                </a:lnTo>
                <a:lnTo>
                  <a:pt x="49" y="111"/>
                </a:lnTo>
                <a:lnTo>
                  <a:pt x="54" y="117"/>
                </a:lnTo>
                <a:lnTo>
                  <a:pt x="65" y="125"/>
                </a:lnTo>
                <a:lnTo>
                  <a:pt x="70" y="135"/>
                </a:lnTo>
                <a:lnTo>
                  <a:pt x="73" y="145"/>
                </a:lnTo>
                <a:lnTo>
                  <a:pt x="57" y="153"/>
                </a:lnTo>
                <a:lnTo>
                  <a:pt x="44" y="151"/>
                </a:lnTo>
                <a:lnTo>
                  <a:pt x="39" y="148"/>
                </a:lnTo>
                <a:lnTo>
                  <a:pt x="33" y="143"/>
                </a:lnTo>
                <a:lnTo>
                  <a:pt x="30" y="138"/>
                </a:lnTo>
                <a:lnTo>
                  <a:pt x="24" y="122"/>
                </a:lnTo>
                <a:lnTo>
                  <a:pt x="24" y="108"/>
                </a:lnTo>
                <a:lnTo>
                  <a:pt x="21" y="93"/>
                </a:lnTo>
                <a:lnTo>
                  <a:pt x="15" y="86"/>
                </a:lnTo>
                <a:lnTo>
                  <a:pt x="0" y="73"/>
                </a:lnTo>
                <a:lnTo>
                  <a:pt x="0" y="33"/>
                </a:lnTo>
                <a:lnTo>
                  <a:pt x="9" y="23"/>
                </a:lnTo>
                <a:lnTo>
                  <a:pt x="15" y="12"/>
                </a:lnTo>
                <a:lnTo>
                  <a:pt x="22"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52" name="Freeform 52">
            <a:extLst>
              <a:ext uri="{FF2B5EF4-FFF2-40B4-BE49-F238E27FC236}">
                <a16:creationId xmlns:a16="http://schemas.microsoft.com/office/drawing/2014/main" id="{CA0116C1-4745-40DD-B524-0C83199065A2}"/>
              </a:ext>
            </a:extLst>
          </p:cNvPr>
          <p:cNvSpPr>
            <a:spLocks/>
          </p:cNvSpPr>
          <p:nvPr>
            <p:custDataLst>
              <p:tags r:id="rId45"/>
            </p:custDataLst>
          </p:nvPr>
        </p:nvSpPr>
        <p:spPr bwMode="auto">
          <a:xfrm rot="120000">
            <a:off x="10321789" y="4850491"/>
            <a:ext cx="555609" cy="790552"/>
          </a:xfrm>
          <a:custGeom>
            <a:avLst/>
            <a:gdLst>
              <a:gd name="T0" fmla="*/ 339 w 341"/>
              <a:gd name="T1" fmla="*/ 6 h 486"/>
              <a:gd name="T2" fmla="*/ 333 w 341"/>
              <a:gd name="T3" fmla="*/ 41 h 486"/>
              <a:gd name="T4" fmla="*/ 317 w 341"/>
              <a:gd name="T5" fmla="*/ 70 h 486"/>
              <a:gd name="T6" fmla="*/ 303 w 341"/>
              <a:gd name="T7" fmla="*/ 101 h 486"/>
              <a:gd name="T8" fmla="*/ 282 w 341"/>
              <a:gd name="T9" fmla="*/ 112 h 486"/>
              <a:gd name="T10" fmla="*/ 227 w 341"/>
              <a:gd name="T11" fmla="*/ 126 h 486"/>
              <a:gd name="T12" fmla="*/ 186 w 341"/>
              <a:gd name="T13" fmla="*/ 130 h 486"/>
              <a:gd name="T14" fmla="*/ 151 w 341"/>
              <a:gd name="T15" fmla="*/ 143 h 486"/>
              <a:gd name="T16" fmla="*/ 119 w 341"/>
              <a:gd name="T17" fmla="*/ 148 h 486"/>
              <a:gd name="T18" fmla="*/ 73 w 341"/>
              <a:gd name="T19" fmla="*/ 169 h 486"/>
              <a:gd name="T20" fmla="*/ 65 w 341"/>
              <a:gd name="T21" fmla="*/ 206 h 486"/>
              <a:gd name="T22" fmla="*/ 103 w 341"/>
              <a:gd name="T23" fmla="*/ 213 h 486"/>
              <a:gd name="T24" fmla="*/ 122 w 341"/>
              <a:gd name="T25" fmla="*/ 236 h 486"/>
              <a:gd name="T26" fmla="*/ 143 w 341"/>
              <a:gd name="T27" fmla="*/ 224 h 486"/>
              <a:gd name="T28" fmla="*/ 171 w 341"/>
              <a:gd name="T29" fmla="*/ 203 h 486"/>
              <a:gd name="T30" fmla="*/ 211 w 341"/>
              <a:gd name="T31" fmla="*/ 182 h 486"/>
              <a:gd name="T32" fmla="*/ 211 w 341"/>
              <a:gd name="T33" fmla="*/ 210 h 486"/>
              <a:gd name="T34" fmla="*/ 173 w 341"/>
              <a:gd name="T35" fmla="*/ 252 h 486"/>
              <a:gd name="T36" fmla="*/ 171 w 341"/>
              <a:gd name="T37" fmla="*/ 280 h 486"/>
              <a:gd name="T38" fmla="*/ 208 w 341"/>
              <a:gd name="T39" fmla="*/ 296 h 486"/>
              <a:gd name="T40" fmla="*/ 216 w 341"/>
              <a:gd name="T41" fmla="*/ 315 h 486"/>
              <a:gd name="T42" fmla="*/ 241 w 341"/>
              <a:gd name="T43" fmla="*/ 361 h 486"/>
              <a:gd name="T44" fmla="*/ 229 w 341"/>
              <a:gd name="T45" fmla="*/ 390 h 486"/>
              <a:gd name="T46" fmla="*/ 222 w 341"/>
              <a:gd name="T47" fmla="*/ 424 h 486"/>
              <a:gd name="T48" fmla="*/ 190 w 341"/>
              <a:gd name="T49" fmla="*/ 439 h 486"/>
              <a:gd name="T50" fmla="*/ 208 w 341"/>
              <a:gd name="T51" fmla="*/ 428 h 486"/>
              <a:gd name="T52" fmla="*/ 203 w 341"/>
              <a:gd name="T53" fmla="*/ 401 h 486"/>
              <a:gd name="T54" fmla="*/ 181 w 341"/>
              <a:gd name="T55" fmla="*/ 413 h 486"/>
              <a:gd name="T56" fmla="*/ 156 w 341"/>
              <a:gd name="T57" fmla="*/ 390 h 486"/>
              <a:gd name="T58" fmla="*/ 160 w 341"/>
              <a:gd name="T59" fmla="*/ 371 h 486"/>
              <a:gd name="T60" fmla="*/ 127 w 341"/>
              <a:gd name="T61" fmla="*/ 351 h 486"/>
              <a:gd name="T62" fmla="*/ 136 w 341"/>
              <a:gd name="T63" fmla="*/ 328 h 486"/>
              <a:gd name="T64" fmla="*/ 110 w 341"/>
              <a:gd name="T65" fmla="*/ 319 h 486"/>
              <a:gd name="T66" fmla="*/ 95 w 341"/>
              <a:gd name="T67" fmla="*/ 336 h 486"/>
              <a:gd name="T68" fmla="*/ 106 w 341"/>
              <a:gd name="T69" fmla="*/ 408 h 486"/>
              <a:gd name="T70" fmla="*/ 109 w 341"/>
              <a:gd name="T71" fmla="*/ 460 h 486"/>
              <a:gd name="T72" fmla="*/ 83 w 341"/>
              <a:gd name="T73" fmla="*/ 486 h 486"/>
              <a:gd name="T74" fmla="*/ 32 w 341"/>
              <a:gd name="T75" fmla="*/ 486 h 486"/>
              <a:gd name="T76" fmla="*/ 38 w 341"/>
              <a:gd name="T77" fmla="*/ 465 h 486"/>
              <a:gd name="T78" fmla="*/ 35 w 341"/>
              <a:gd name="T79" fmla="*/ 392 h 486"/>
              <a:gd name="T80" fmla="*/ 0 w 341"/>
              <a:gd name="T81" fmla="*/ 370 h 486"/>
              <a:gd name="T82" fmla="*/ 24 w 341"/>
              <a:gd name="T83" fmla="*/ 307 h 486"/>
              <a:gd name="T84" fmla="*/ 30 w 341"/>
              <a:gd name="T85" fmla="*/ 250 h 486"/>
              <a:gd name="T86" fmla="*/ 47 w 341"/>
              <a:gd name="T87" fmla="*/ 218 h 486"/>
              <a:gd name="T88" fmla="*/ 32 w 341"/>
              <a:gd name="T89" fmla="*/ 187 h 486"/>
              <a:gd name="T90" fmla="*/ 38 w 341"/>
              <a:gd name="T91" fmla="*/ 166 h 486"/>
              <a:gd name="T92" fmla="*/ 49 w 341"/>
              <a:gd name="T93" fmla="*/ 153 h 486"/>
              <a:gd name="T94" fmla="*/ 86 w 341"/>
              <a:gd name="T95" fmla="*/ 130 h 486"/>
              <a:gd name="T96" fmla="*/ 95 w 341"/>
              <a:gd name="T97" fmla="*/ 104 h 486"/>
              <a:gd name="T98" fmla="*/ 149 w 341"/>
              <a:gd name="T99" fmla="*/ 99 h 486"/>
              <a:gd name="T100" fmla="*/ 192 w 341"/>
              <a:gd name="T101" fmla="*/ 86 h 486"/>
              <a:gd name="T102" fmla="*/ 241 w 341"/>
              <a:gd name="T103" fmla="*/ 81 h 486"/>
              <a:gd name="T104" fmla="*/ 279 w 341"/>
              <a:gd name="T105" fmla="*/ 57 h 486"/>
              <a:gd name="T106" fmla="*/ 311 w 341"/>
              <a:gd name="T107" fmla="*/ 20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1" h="486">
                <a:moveTo>
                  <a:pt x="330" y="0"/>
                </a:moveTo>
                <a:lnTo>
                  <a:pt x="336" y="0"/>
                </a:lnTo>
                <a:lnTo>
                  <a:pt x="339" y="6"/>
                </a:lnTo>
                <a:lnTo>
                  <a:pt x="341" y="16"/>
                </a:lnTo>
                <a:lnTo>
                  <a:pt x="339" y="32"/>
                </a:lnTo>
                <a:lnTo>
                  <a:pt x="333" y="41"/>
                </a:lnTo>
                <a:lnTo>
                  <a:pt x="330" y="55"/>
                </a:lnTo>
                <a:lnTo>
                  <a:pt x="322" y="65"/>
                </a:lnTo>
                <a:lnTo>
                  <a:pt x="317" y="70"/>
                </a:lnTo>
                <a:lnTo>
                  <a:pt x="309" y="81"/>
                </a:lnTo>
                <a:lnTo>
                  <a:pt x="309" y="91"/>
                </a:lnTo>
                <a:lnTo>
                  <a:pt x="303" y="101"/>
                </a:lnTo>
                <a:lnTo>
                  <a:pt x="295" y="106"/>
                </a:lnTo>
                <a:lnTo>
                  <a:pt x="284" y="109"/>
                </a:lnTo>
                <a:lnTo>
                  <a:pt x="282" y="112"/>
                </a:lnTo>
                <a:lnTo>
                  <a:pt x="270" y="118"/>
                </a:lnTo>
                <a:lnTo>
                  <a:pt x="254" y="122"/>
                </a:lnTo>
                <a:lnTo>
                  <a:pt x="227" y="126"/>
                </a:lnTo>
                <a:lnTo>
                  <a:pt x="211" y="120"/>
                </a:lnTo>
                <a:lnTo>
                  <a:pt x="198" y="126"/>
                </a:lnTo>
                <a:lnTo>
                  <a:pt x="186" y="130"/>
                </a:lnTo>
                <a:lnTo>
                  <a:pt x="175" y="130"/>
                </a:lnTo>
                <a:lnTo>
                  <a:pt x="163" y="135"/>
                </a:lnTo>
                <a:lnTo>
                  <a:pt x="151" y="143"/>
                </a:lnTo>
                <a:lnTo>
                  <a:pt x="141" y="146"/>
                </a:lnTo>
                <a:lnTo>
                  <a:pt x="130" y="146"/>
                </a:lnTo>
                <a:lnTo>
                  <a:pt x="119" y="148"/>
                </a:lnTo>
                <a:lnTo>
                  <a:pt x="109" y="156"/>
                </a:lnTo>
                <a:lnTo>
                  <a:pt x="95" y="158"/>
                </a:lnTo>
                <a:lnTo>
                  <a:pt x="73" y="169"/>
                </a:lnTo>
                <a:lnTo>
                  <a:pt x="62" y="177"/>
                </a:lnTo>
                <a:lnTo>
                  <a:pt x="60" y="200"/>
                </a:lnTo>
                <a:lnTo>
                  <a:pt x="65" y="206"/>
                </a:lnTo>
                <a:lnTo>
                  <a:pt x="81" y="206"/>
                </a:lnTo>
                <a:lnTo>
                  <a:pt x="92" y="209"/>
                </a:lnTo>
                <a:lnTo>
                  <a:pt x="103" y="213"/>
                </a:lnTo>
                <a:lnTo>
                  <a:pt x="114" y="221"/>
                </a:lnTo>
                <a:lnTo>
                  <a:pt x="117" y="232"/>
                </a:lnTo>
                <a:lnTo>
                  <a:pt x="122" y="236"/>
                </a:lnTo>
                <a:lnTo>
                  <a:pt x="133" y="236"/>
                </a:lnTo>
                <a:lnTo>
                  <a:pt x="136" y="234"/>
                </a:lnTo>
                <a:lnTo>
                  <a:pt x="143" y="224"/>
                </a:lnTo>
                <a:lnTo>
                  <a:pt x="149" y="210"/>
                </a:lnTo>
                <a:lnTo>
                  <a:pt x="160" y="203"/>
                </a:lnTo>
                <a:lnTo>
                  <a:pt x="171" y="203"/>
                </a:lnTo>
                <a:lnTo>
                  <a:pt x="186" y="187"/>
                </a:lnTo>
                <a:lnTo>
                  <a:pt x="200" y="185"/>
                </a:lnTo>
                <a:lnTo>
                  <a:pt x="211" y="182"/>
                </a:lnTo>
                <a:lnTo>
                  <a:pt x="214" y="185"/>
                </a:lnTo>
                <a:lnTo>
                  <a:pt x="214" y="187"/>
                </a:lnTo>
                <a:lnTo>
                  <a:pt x="211" y="210"/>
                </a:lnTo>
                <a:lnTo>
                  <a:pt x="195" y="232"/>
                </a:lnTo>
                <a:lnTo>
                  <a:pt x="184" y="240"/>
                </a:lnTo>
                <a:lnTo>
                  <a:pt x="173" y="252"/>
                </a:lnTo>
                <a:lnTo>
                  <a:pt x="160" y="265"/>
                </a:lnTo>
                <a:lnTo>
                  <a:pt x="160" y="267"/>
                </a:lnTo>
                <a:lnTo>
                  <a:pt x="171" y="280"/>
                </a:lnTo>
                <a:lnTo>
                  <a:pt x="184" y="288"/>
                </a:lnTo>
                <a:lnTo>
                  <a:pt x="198" y="292"/>
                </a:lnTo>
                <a:lnTo>
                  <a:pt x="208" y="296"/>
                </a:lnTo>
                <a:lnTo>
                  <a:pt x="211" y="299"/>
                </a:lnTo>
                <a:lnTo>
                  <a:pt x="216" y="310"/>
                </a:lnTo>
                <a:lnTo>
                  <a:pt x="216" y="315"/>
                </a:lnTo>
                <a:lnTo>
                  <a:pt x="211" y="328"/>
                </a:lnTo>
                <a:lnTo>
                  <a:pt x="235" y="354"/>
                </a:lnTo>
                <a:lnTo>
                  <a:pt x="241" y="361"/>
                </a:lnTo>
                <a:lnTo>
                  <a:pt x="238" y="375"/>
                </a:lnTo>
                <a:lnTo>
                  <a:pt x="229" y="385"/>
                </a:lnTo>
                <a:lnTo>
                  <a:pt x="229" y="390"/>
                </a:lnTo>
                <a:lnTo>
                  <a:pt x="233" y="401"/>
                </a:lnTo>
                <a:lnTo>
                  <a:pt x="233" y="411"/>
                </a:lnTo>
                <a:lnTo>
                  <a:pt x="222" y="424"/>
                </a:lnTo>
                <a:lnTo>
                  <a:pt x="203" y="439"/>
                </a:lnTo>
                <a:lnTo>
                  <a:pt x="192" y="442"/>
                </a:lnTo>
                <a:lnTo>
                  <a:pt x="190" y="439"/>
                </a:lnTo>
                <a:lnTo>
                  <a:pt x="190" y="437"/>
                </a:lnTo>
                <a:lnTo>
                  <a:pt x="195" y="435"/>
                </a:lnTo>
                <a:lnTo>
                  <a:pt x="208" y="428"/>
                </a:lnTo>
                <a:lnTo>
                  <a:pt x="208" y="397"/>
                </a:lnTo>
                <a:lnTo>
                  <a:pt x="205" y="397"/>
                </a:lnTo>
                <a:lnTo>
                  <a:pt x="203" y="401"/>
                </a:lnTo>
                <a:lnTo>
                  <a:pt x="198" y="411"/>
                </a:lnTo>
                <a:lnTo>
                  <a:pt x="192" y="413"/>
                </a:lnTo>
                <a:lnTo>
                  <a:pt x="181" y="413"/>
                </a:lnTo>
                <a:lnTo>
                  <a:pt x="168" y="403"/>
                </a:lnTo>
                <a:lnTo>
                  <a:pt x="156" y="397"/>
                </a:lnTo>
                <a:lnTo>
                  <a:pt x="156" y="390"/>
                </a:lnTo>
                <a:lnTo>
                  <a:pt x="163" y="379"/>
                </a:lnTo>
                <a:lnTo>
                  <a:pt x="163" y="375"/>
                </a:lnTo>
                <a:lnTo>
                  <a:pt x="160" y="371"/>
                </a:lnTo>
                <a:lnTo>
                  <a:pt x="149" y="370"/>
                </a:lnTo>
                <a:lnTo>
                  <a:pt x="136" y="361"/>
                </a:lnTo>
                <a:lnTo>
                  <a:pt x="127" y="351"/>
                </a:lnTo>
                <a:lnTo>
                  <a:pt x="127" y="345"/>
                </a:lnTo>
                <a:lnTo>
                  <a:pt x="136" y="333"/>
                </a:lnTo>
                <a:lnTo>
                  <a:pt x="136" y="328"/>
                </a:lnTo>
                <a:lnTo>
                  <a:pt x="133" y="325"/>
                </a:lnTo>
                <a:lnTo>
                  <a:pt x="117" y="317"/>
                </a:lnTo>
                <a:lnTo>
                  <a:pt x="110" y="319"/>
                </a:lnTo>
                <a:lnTo>
                  <a:pt x="97" y="325"/>
                </a:lnTo>
                <a:lnTo>
                  <a:pt x="92" y="330"/>
                </a:lnTo>
                <a:lnTo>
                  <a:pt x="95" y="336"/>
                </a:lnTo>
                <a:lnTo>
                  <a:pt x="97" y="337"/>
                </a:lnTo>
                <a:lnTo>
                  <a:pt x="106" y="348"/>
                </a:lnTo>
                <a:lnTo>
                  <a:pt x="106" y="408"/>
                </a:lnTo>
                <a:lnTo>
                  <a:pt x="109" y="432"/>
                </a:lnTo>
                <a:lnTo>
                  <a:pt x="106" y="447"/>
                </a:lnTo>
                <a:lnTo>
                  <a:pt x="109" y="460"/>
                </a:lnTo>
                <a:lnTo>
                  <a:pt x="103" y="475"/>
                </a:lnTo>
                <a:lnTo>
                  <a:pt x="90" y="486"/>
                </a:lnTo>
                <a:lnTo>
                  <a:pt x="83" y="486"/>
                </a:lnTo>
                <a:lnTo>
                  <a:pt x="73" y="484"/>
                </a:lnTo>
                <a:lnTo>
                  <a:pt x="47" y="486"/>
                </a:lnTo>
                <a:lnTo>
                  <a:pt x="32" y="486"/>
                </a:lnTo>
                <a:lnTo>
                  <a:pt x="30" y="484"/>
                </a:lnTo>
                <a:lnTo>
                  <a:pt x="35" y="475"/>
                </a:lnTo>
                <a:lnTo>
                  <a:pt x="38" y="465"/>
                </a:lnTo>
                <a:lnTo>
                  <a:pt x="43" y="450"/>
                </a:lnTo>
                <a:lnTo>
                  <a:pt x="47" y="405"/>
                </a:lnTo>
                <a:lnTo>
                  <a:pt x="35" y="392"/>
                </a:lnTo>
                <a:lnTo>
                  <a:pt x="8" y="392"/>
                </a:lnTo>
                <a:lnTo>
                  <a:pt x="0" y="382"/>
                </a:lnTo>
                <a:lnTo>
                  <a:pt x="0" y="370"/>
                </a:lnTo>
                <a:lnTo>
                  <a:pt x="3" y="337"/>
                </a:lnTo>
                <a:lnTo>
                  <a:pt x="19" y="317"/>
                </a:lnTo>
                <a:lnTo>
                  <a:pt x="24" y="307"/>
                </a:lnTo>
                <a:lnTo>
                  <a:pt x="24" y="270"/>
                </a:lnTo>
                <a:lnTo>
                  <a:pt x="30" y="260"/>
                </a:lnTo>
                <a:lnTo>
                  <a:pt x="30" y="250"/>
                </a:lnTo>
                <a:lnTo>
                  <a:pt x="35" y="240"/>
                </a:lnTo>
                <a:lnTo>
                  <a:pt x="43" y="229"/>
                </a:lnTo>
                <a:lnTo>
                  <a:pt x="47" y="218"/>
                </a:lnTo>
                <a:lnTo>
                  <a:pt x="40" y="209"/>
                </a:lnTo>
                <a:lnTo>
                  <a:pt x="38" y="206"/>
                </a:lnTo>
                <a:lnTo>
                  <a:pt x="32" y="187"/>
                </a:lnTo>
                <a:lnTo>
                  <a:pt x="40" y="177"/>
                </a:lnTo>
                <a:lnTo>
                  <a:pt x="40" y="169"/>
                </a:lnTo>
                <a:lnTo>
                  <a:pt x="38" y="166"/>
                </a:lnTo>
                <a:lnTo>
                  <a:pt x="40" y="166"/>
                </a:lnTo>
                <a:lnTo>
                  <a:pt x="43" y="164"/>
                </a:lnTo>
                <a:lnTo>
                  <a:pt x="49" y="153"/>
                </a:lnTo>
                <a:lnTo>
                  <a:pt x="56" y="140"/>
                </a:lnTo>
                <a:lnTo>
                  <a:pt x="75" y="132"/>
                </a:lnTo>
                <a:lnTo>
                  <a:pt x="86" y="130"/>
                </a:lnTo>
                <a:lnTo>
                  <a:pt x="90" y="128"/>
                </a:lnTo>
                <a:lnTo>
                  <a:pt x="92" y="118"/>
                </a:lnTo>
                <a:lnTo>
                  <a:pt x="95" y="104"/>
                </a:lnTo>
                <a:lnTo>
                  <a:pt x="103" y="101"/>
                </a:lnTo>
                <a:lnTo>
                  <a:pt x="119" y="101"/>
                </a:lnTo>
                <a:lnTo>
                  <a:pt x="149" y="99"/>
                </a:lnTo>
                <a:lnTo>
                  <a:pt x="171" y="89"/>
                </a:lnTo>
                <a:lnTo>
                  <a:pt x="181" y="89"/>
                </a:lnTo>
                <a:lnTo>
                  <a:pt x="192" y="86"/>
                </a:lnTo>
                <a:lnTo>
                  <a:pt x="216" y="91"/>
                </a:lnTo>
                <a:lnTo>
                  <a:pt x="229" y="86"/>
                </a:lnTo>
                <a:lnTo>
                  <a:pt x="241" y="81"/>
                </a:lnTo>
                <a:lnTo>
                  <a:pt x="257" y="78"/>
                </a:lnTo>
                <a:lnTo>
                  <a:pt x="274" y="68"/>
                </a:lnTo>
                <a:lnTo>
                  <a:pt x="279" y="57"/>
                </a:lnTo>
                <a:lnTo>
                  <a:pt x="286" y="47"/>
                </a:lnTo>
                <a:lnTo>
                  <a:pt x="303" y="32"/>
                </a:lnTo>
                <a:lnTo>
                  <a:pt x="311" y="20"/>
                </a:lnTo>
                <a:lnTo>
                  <a:pt x="325" y="6"/>
                </a:lnTo>
                <a:lnTo>
                  <a:pt x="330"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53" name="Freeform 53">
            <a:extLst>
              <a:ext uri="{FF2B5EF4-FFF2-40B4-BE49-F238E27FC236}">
                <a16:creationId xmlns:a16="http://schemas.microsoft.com/office/drawing/2014/main" id="{7FC98EC2-43C0-442A-B7D7-A69614A8C393}"/>
              </a:ext>
            </a:extLst>
          </p:cNvPr>
          <p:cNvSpPr>
            <a:spLocks/>
          </p:cNvSpPr>
          <p:nvPr>
            <p:custDataLst>
              <p:tags r:id="rId46"/>
            </p:custDataLst>
          </p:nvPr>
        </p:nvSpPr>
        <p:spPr bwMode="auto">
          <a:xfrm rot="120000">
            <a:off x="10826600" y="5131470"/>
            <a:ext cx="182557" cy="79372"/>
          </a:xfrm>
          <a:custGeom>
            <a:avLst/>
            <a:gdLst>
              <a:gd name="T0" fmla="*/ 95 w 112"/>
              <a:gd name="T1" fmla="*/ 0 h 49"/>
              <a:gd name="T2" fmla="*/ 107 w 112"/>
              <a:gd name="T3" fmla="*/ 3 h 49"/>
              <a:gd name="T4" fmla="*/ 112 w 112"/>
              <a:gd name="T5" fmla="*/ 16 h 49"/>
              <a:gd name="T6" fmla="*/ 112 w 112"/>
              <a:gd name="T7" fmla="*/ 25 h 49"/>
              <a:gd name="T8" fmla="*/ 101 w 112"/>
              <a:gd name="T9" fmla="*/ 33 h 49"/>
              <a:gd name="T10" fmla="*/ 90 w 112"/>
              <a:gd name="T11" fmla="*/ 33 h 49"/>
              <a:gd name="T12" fmla="*/ 69 w 112"/>
              <a:gd name="T13" fmla="*/ 25 h 49"/>
              <a:gd name="T14" fmla="*/ 56 w 112"/>
              <a:gd name="T15" fmla="*/ 33 h 49"/>
              <a:gd name="T16" fmla="*/ 41 w 112"/>
              <a:gd name="T17" fmla="*/ 39 h 49"/>
              <a:gd name="T18" fmla="*/ 29 w 112"/>
              <a:gd name="T19" fmla="*/ 43 h 49"/>
              <a:gd name="T20" fmla="*/ 8 w 112"/>
              <a:gd name="T21" fmla="*/ 49 h 49"/>
              <a:gd name="T22" fmla="*/ 3 w 112"/>
              <a:gd name="T23" fmla="*/ 46 h 49"/>
              <a:gd name="T24" fmla="*/ 0 w 112"/>
              <a:gd name="T25" fmla="*/ 39 h 49"/>
              <a:gd name="T26" fmla="*/ 0 w 112"/>
              <a:gd name="T27" fmla="*/ 19 h 49"/>
              <a:gd name="T28" fmla="*/ 5 w 112"/>
              <a:gd name="T29" fmla="*/ 14 h 49"/>
              <a:gd name="T30" fmla="*/ 56 w 112"/>
              <a:gd name="T31" fmla="*/ 14 h 49"/>
              <a:gd name="T32" fmla="*/ 77 w 112"/>
              <a:gd name="T33" fmla="*/ 8 h 49"/>
              <a:gd name="T34" fmla="*/ 94 w 112"/>
              <a:gd name="T35" fmla="*/ 3 h 49"/>
              <a:gd name="T36" fmla="*/ 95 w 112"/>
              <a:gd name="T3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2" h="49">
                <a:moveTo>
                  <a:pt x="95" y="0"/>
                </a:moveTo>
                <a:lnTo>
                  <a:pt x="107" y="3"/>
                </a:lnTo>
                <a:lnTo>
                  <a:pt x="112" y="16"/>
                </a:lnTo>
                <a:lnTo>
                  <a:pt x="112" y="25"/>
                </a:lnTo>
                <a:lnTo>
                  <a:pt x="101" y="33"/>
                </a:lnTo>
                <a:lnTo>
                  <a:pt x="90" y="33"/>
                </a:lnTo>
                <a:lnTo>
                  <a:pt x="69" y="25"/>
                </a:lnTo>
                <a:lnTo>
                  <a:pt x="56" y="33"/>
                </a:lnTo>
                <a:lnTo>
                  <a:pt x="41" y="39"/>
                </a:lnTo>
                <a:lnTo>
                  <a:pt x="29" y="43"/>
                </a:lnTo>
                <a:lnTo>
                  <a:pt x="8" y="49"/>
                </a:lnTo>
                <a:lnTo>
                  <a:pt x="3" y="46"/>
                </a:lnTo>
                <a:lnTo>
                  <a:pt x="0" y="39"/>
                </a:lnTo>
                <a:lnTo>
                  <a:pt x="0" y="19"/>
                </a:lnTo>
                <a:lnTo>
                  <a:pt x="5" y="14"/>
                </a:lnTo>
                <a:lnTo>
                  <a:pt x="56" y="14"/>
                </a:lnTo>
                <a:lnTo>
                  <a:pt x="77" y="8"/>
                </a:lnTo>
                <a:lnTo>
                  <a:pt x="94" y="3"/>
                </a:lnTo>
                <a:lnTo>
                  <a:pt x="95"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54" name="Freeform 54">
            <a:extLst>
              <a:ext uri="{FF2B5EF4-FFF2-40B4-BE49-F238E27FC236}">
                <a16:creationId xmlns:a16="http://schemas.microsoft.com/office/drawing/2014/main" id="{2DF3D543-B7C0-40A9-9072-099BC418A1EC}"/>
              </a:ext>
            </a:extLst>
          </p:cNvPr>
          <p:cNvSpPr>
            <a:spLocks/>
          </p:cNvSpPr>
          <p:nvPr>
            <p:custDataLst>
              <p:tags r:id="rId47"/>
            </p:custDataLst>
          </p:nvPr>
        </p:nvSpPr>
        <p:spPr bwMode="auto">
          <a:xfrm rot="120000">
            <a:off x="11132977" y="5160044"/>
            <a:ext cx="100009" cy="100010"/>
          </a:xfrm>
          <a:custGeom>
            <a:avLst/>
            <a:gdLst>
              <a:gd name="T0" fmla="*/ 48 w 61"/>
              <a:gd name="T1" fmla="*/ 0 h 62"/>
              <a:gd name="T2" fmla="*/ 58 w 61"/>
              <a:gd name="T3" fmla="*/ 0 h 62"/>
              <a:gd name="T4" fmla="*/ 61 w 61"/>
              <a:gd name="T5" fmla="*/ 3 h 62"/>
              <a:gd name="T6" fmla="*/ 61 w 61"/>
              <a:gd name="T7" fmla="*/ 12 h 62"/>
              <a:gd name="T8" fmla="*/ 57 w 61"/>
              <a:gd name="T9" fmla="*/ 21 h 62"/>
              <a:gd name="T10" fmla="*/ 45 w 61"/>
              <a:gd name="T11" fmla="*/ 27 h 62"/>
              <a:gd name="T12" fmla="*/ 27 w 61"/>
              <a:gd name="T13" fmla="*/ 36 h 62"/>
              <a:gd name="T14" fmla="*/ 25 w 61"/>
              <a:gd name="T15" fmla="*/ 47 h 62"/>
              <a:gd name="T16" fmla="*/ 11 w 61"/>
              <a:gd name="T17" fmla="*/ 62 h 62"/>
              <a:gd name="T18" fmla="*/ 8 w 61"/>
              <a:gd name="T19" fmla="*/ 62 h 62"/>
              <a:gd name="T20" fmla="*/ 5 w 61"/>
              <a:gd name="T21" fmla="*/ 56 h 62"/>
              <a:gd name="T22" fmla="*/ 3 w 61"/>
              <a:gd name="T23" fmla="*/ 44 h 62"/>
              <a:gd name="T24" fmla="*/ 0 w 61"/>
              <a:gd name="T25" fmla="*/ 15 h 62"/>
              <a:gd name="T26" fmla="*/ 8 w 61"/>
              <a:gd name="T27" fmla="*/ 7 h 62"/>
              <a:gd name="T28" fmla="*/ 19 w 61"/>
              <a:gd name="T29" fmla="*/ 3 h 62"/>
              <a:gd name="T30" fmla="*/ 45 w 61"/>
              <a:gd name="T31" fmla="*/ 3 h 62"/>
              <a:gd name="T32" fmla="*/ 48 w 61"/>
              <a:gd name="T3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1" h="62">
                <a:moveTo>
                  <a:pt x="48" y="0"/>
                </a:moveTo>
                <a:lnTo>
                  <a:pt x="58" y="0"/>
                </a:lnTo>
                <a:lnTo>
                  <a:pt x="61" y="3"/>
                </a:lnTo>
                <a:lnTo>
                  <a:pt x="61" y="12"/>
                </a:lnTo>
                <a:lnTo>
                  <a:pt x="57" y="21"/>
                </a:lnTo>
                <a:lnTo>
                  <a:pt x="45" y="27"/>
                </a:lnTo>
                <a:lnTo>
                  <a:pt x="27" y="36"/>
                </a:lnTo>
                <a:lnTo>
                  <a:pt x="25" y="47"/>
                </a:lnTo>
                <a:lnTo>
                  <a:pt x="11" y="62"/>
                </a:lnTo>
                <a:lnTo>
                  <a:pt x="8" y="62"/>
                </a:lnTo>
                <a:lnTo>
                  <a:pt x="5" y="56"/>
                </a:lnTo>
                <a:lnTo>
                  <a:pt x="3" y="44"/>
                </a:lnTo>
                <a:lnTo>
                  <a:pt x="0" y="15"/>
                </a:lnTo>
                <a:lnTo>
                  <a:pt x="8" y="7"/>
                </a:lnTo>
                <a:lnTo>
                  <a:pt x="19" y="3"/>
                </a:lnTo>
                <a:lnTo>
                  <a:pt x="45" y="3"/>
                </a:lnTo>
                <a:lnTo>
                  <a:pt x="48"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55" name="Freeform 55">
            <a:extLst>
              <a:ext uri="{FF2B5EF4-FFF2-40B4-BE49-F238E27FC236}">
                <a16:creationId xmlns:a16="http://schemas.microsoft.com/office/drawing/2014/main" id="{93A94AD6-0AB8-48B9-8025-617CCA449A28}"/>
              </a:ext>
            </a:extLst>
          </p:cNvPr>
          <p:cNvSpPr>
            <a:spLocks/>
          </p:cNvSpPr>
          <p:nvPr>
            <p:custDataLst>
              <p:tags r:id="rId48"/>
            </p:custDataLst>
          </p:nvPr>
        </p:nvSpPr>
        <p:spPr bwMode="auto">
          <a:xfrm rot="120000">
            <a:off x="10994870" y="5214016"/>
            <a:ext cx="112710" cy="88898"/>
          </a:xfrm>
          <a:custGeom>
            <a:avLst/>
            <a:gdLst>
              <a:gd name="T0" fmla="*/ 48 w 70"/>
              <a:gd name="T1" fmla="*/ 0 h 54"/>
              <a:gd name="T2" fmla="*/ 60 w 70"/>
              <a:gd name="T3" fmla="*/ 4 h 54"/>
              <a:gd name="T4" fmla="*/ 70 w 70"/>
              <a:gd name="T5" fmla="*/ 8 h 54"/>
              <a:gd name="T6" fmla="*/ 70 w 70"/>
              <a:gd name="T7" fmla="*/ 11 h 54"/>
              <a:gd name="T8" fmla="*/ 64 w 70"/>
              <a:gd name="T9" fmla="*/ 20 h 54"/>
              <a:gd name="T10" fmla="*/ 61 w 70"/>
              <a:gd name="T11" fmla="*/ 31 h 54"/>
              <a:gd name="T12" fmla="*/ 57 w 70"/>
              <a:gd name="T13" fmla="*/ 42 h 54"/>
              <a:gd name="T14" fmla="*/ 48 w 70"/>
              <a:gd name="T15" fmla="*/ 52 h 54"/>
              <a:gd name="T16" fmla="*/ 40 w 70"/>
              <a:gd name="T17" fmla="*/ 54 h 54"/>
              <a:gd name="T18" fmla="*/ 38 w 70"/>
              <a:gd name="T19" fmla="*/ 54 h 54"/>
              <a:gd name="T20" fmla="*/ 25 w 70"/>
              <a:gd name="T21" fmla="*/ 52 h 54"/>
              <a:gd name="T22" fmla="*/ 10 w 70"/>
              <a:gd name="T23" fmla="*/ 46 h 54"/>
              <a:gd name="T24" fmla="*/ 9 w 70"/>
              <a:gd name="T25" fmla="*/ 45 h 54"/>
              <a:gd name="T26" fmla="*/ 0 w 70"/>
              <a:gd name="T27" fmla="*/ 28 h 54"/>
              <a:gd name="T28" fmla="*/ 0 w 70"/>
              <a:gd name="T29" fmla="*/ 20 h 54"/>
              <a:gd name="T30" fmla="*/ 10 w 70"/>
              <a:gd name="T31" fmla="*/ 18 h 54"/>
              <a:gd name="T32" fmla="*/ 22 w 70"/>
              <a:gd name="T33" fmla="*/ 8 h 54"/>
              <a:gd name="T34" fmla="*/ 46 w 70"/>
              <a:gd name="T35" fmla="*/ 4 h 54"/>
              <a:gd name="T36" fmla="*/ 48 w 70"/>
              <a:gd name="T3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 h="54">
                <a:moveTo>
                  <a:pt x="48" y="0"/>
                </a:moveTo>
                <a:lnTo>
                  <a:pt x="60" y="4"/>
                </a:lnTo>
                <a:lnTo>
                  <a:pt x="70" y="8"/>
                </a:lnTo>
                <a:lnTo>
                  <a:pt x="70" y="11"/>
                </a:lnTo>
                <a:lnTo>
                  <a:pt x="64" y="20"/>
                </a:lnTo>
                <a:lnTo>
                  <a:pt x="61" y="31"/>
                </a:lnTo>
                <a:lnTo>
                  <a:pt x="57" y="42"/>
                </a:lnTo>
                <a:lnTo>
                  <a:pt x="48" y="52"/>
                </a:lnTo>
                <a:lnTo>
                  <a:pt x="40" y="54"/>
                </a:lnTo>
                <a:lnTo>
                  <a:pt x="38" y="54"/>
                </a:lnTo>
                <a:lnTo>
                  <a:pt x="25" y="52"/>
                </a:lnTo>
                <a:lnTo>
                  <a:pt x="10" y="46"/>
                </a:lnTo>
                <a:lnTo>
                  <a:pt x="9" y="45"/>
                </a:lnTo>
                <a:lnTo>
                  <a:pt x="0" y="28"/>
                </a:lnTo>
                <a:lnTo>
                  <a:pt x="0" y="20"/>
                </a:lnTo>
                <a:lnTo>
                  <a:pt x="10" y="18"/>
                </a:lnTo>
                <a:lnTo>
                  <a:pt x="22" y="8"/>
                </a:lnTo>
                <a:lnTo>
                  <a:pt x="46" y="4"/>
                </a:lnTo>
                <a:lnTo>
                  <a:pt x="48"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56" name="Freeform 56">
            <a:extLst>
              <a:ext uri="{FF2B5EF4-FFF2-40B4-BE49-F238E27FC236}">
                <a16:creationId xmlns:a16="http://schemas.microsoft.com/office/drawing/2014/main" id="{71B11A63-51F0-4948-875E-5365F44AF97D}"/>
              </a:ext>
            </a:extLst>
          </p:cNvPr>
          <p:cNvSpPr>
            <a:spLocks/>
          </p:cNvSpPr>
          <p:nvPr>
            <p:custDataLst>
              <p:tags r:id="rId49"/>
            </p:custDataLst>
          </p:nvPr>
        </p:nvSpPr>
        <p:spPr bwMode="auto">
          <a:xfrm rot="120000">
            <a:off x="10531332" y="4113912"/>
            <a:ext cx="88898" cy="179382"/>
          </a:xfrm>
          <a:custGeom>
            <a:avLst/>
            <a:gdLst>
              <a:gd name="T0" fmla="*/ 19 w 55"/>
              <a:gd name="T1" fmla="*/ 17 h 110"/>
              <a:gd name="T2" fmla="*/ 26 w 55"/>
              <a:gd name="T3" fmla="*/ 24 h 110"/>
              <a:gd name="T4" fmla="*/ 22 w 55"/>
              <a:gd name="T5" fmla="*/ 46 h 110"/>
              <a:gd name="T6" fmla="*/ 19 w 55"/>
              <a:gd name="T7" fmla="*/ 68 h 110"/>
              <a:gd name="T8" fmla="*/ 15 w 55"/>
              <a:gd name="T9" fmla="*/ 70 h 110"/>
              <a:gd name="T10" fmla="*/ 3 w 55"/>
              <a:gd name="T11" fmla="*/ 70 h 110"/>
              <a:gd name="T12" fmla="*/ 0 w 55"/>
              <a:gd name="T13" fmla="*/ 81 h 110"/>
              <a:gd name="T14" fmla="*/ 0 w 55"/>
              <a:gd name="T15" fmla="*/ 84 h 110"/>
              <a:gd name="T16" fmla="*/ 3 w 55"/>
              <a:gd name="T17" fmla="*/ 89 h 110"/>
              <a:gd name="T18" fmla="*/ 15 w 55"/>
              <a:gd name="T19" fmla="*/ 91 h 110"/>
              <a:gd name="T20" fmla="*/ 26 w 55"/>
              <a:gd name="T21" fmla="*/ 101 h 110"/>
              <a:gd name="T22" fmla="*/ 39 w 55"/>
              <a:gd name="T23" fmla="*/ 110 h 110"/>
              <a:gd name="T24" fmla="*/ 49 w 55"/>
              <a:gd name="T25" fmla="*/ 110 h 110"/>
              <a:gd name="T26" fmla="*/ 55 w 55"/>
              <a:gd name="T27" fmla="*/ 101 h 110"/>
              <a:gd name="T28" fmla="*/ 55 w 55"/>
              <a:gd name="T29" fmla="*/ 99 h 110"/>
              <a:gd name="T30" fmla="*/ 49 w 55"/>
              <a:gd name="T31" fmla="*/ 89 h 110"/>
              <a:gd name="T32" fmla="*/ 48 w 55"/>
              <a:gd name="T33" fmla="*/ 78 h 110"/>
              <a:gd name="T34" fmla="*/ 47 w 55"/>
              <a:gd name="T35" fmla="*/ 68 h 110"/>
              <a:gd name="T36" fmla="*/ 47 w 55"/>
              <a:gd name="T37" fmla="*/ 53 h 110"/>
              <a:gd name="T38" fmla="*/ 47 w 55"/>
              <a:gd name="T39" fmla="*/ 48 h 110"/>
              <a:gd name="T40" fmla="*/ 47 w 55"/>
              <a:gd name="T41" fmla="*/ 41 h 110"/>
              <a:gd name="T42" fmla="*/ 46 w 55"/>
              <a:gd name="T43" fmla="*/ 35 h 110"/>
              <a:gd name="T44" fmla="*/ 47 w 55"/>
              <a:gd name="T45" fmla="*/ 21 h 110"/>
              <a:gd name="T46" fmla="*/ 47 w 55"/>
              <a:gd name="T47" fmla="*/ 8 h 110"/>
              <a:gd name="T48" fmla="*/ 42 w 55"/>
              <a:gd name="T49" fmla="*/ 0 h 110"/>
              <a:gd name="T50" fmla="*/ 24 w 55"/>
              <a:gd name="T51" fmla="*/ 6 h 110"/>
              <a:gd name="T52" fmla="*/ 19 w 55"/>
              <a:gd name="T53" fmla="*/ 15 h 110"/>
              <a:gd name="T54" fmla="*/ 19 w 55"/>
              <a:gd name="T55" fmla="*/ 17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5" h="110">
                <a:moveTo>
                  <a:pt x="19" y="17"/>
                </a:moveTo>
                <a:lnTo>
                  <a:pt x="26" y="24"/>
                </a:lnTo>
                <a:lnTo>
                  <a:pt x="22" y="46"/>
                </a:lnTo>
                <a:lnTo>
                  <a:pt x="19" y="68"/>
                </a:lnTo>
                <a:lnTo>
                  <a:pt x="15" y="70"/>
                </a:lnTo>
                <a:lnTo>
                  <a:pt x="3" y="70"/>
                </a:lnTo>
                <a:lnTo>
                  <a:pt x="0" y="81"/>
                </a:lnTo>
                <a:lnTo>
                  <a:pt x="0" y="84"/>
                </a:lnTo>
                <a:lnTo>
                  <a:pt x="3" y="89"/>
                </a:lnTo>
                <a:lnTo>
                  <a:pt x="15" y="91"/>
                </a:lnTo>
                <a:lnTo>
                  <a:pt x="26" y="101"/>
                </a:lnTo>
                <a:lnTo>
                  <a:pt x="39" y="110"/>
                </a:lnTo>
                <a:lnTo>
                  <a:pt x="49" y="110"/>
                </a:lnTo>
                <a:lnTo>
                  <a:pt x="55" y="101"/>
                </a:lnTo>
                <a:lnTo>
                  <a:pt x="55" y="99"/>
                </a:lnTo>
                <a:lnTo>
                  <a:pt x="49" y="89"/>
                </a:lnTo>
                <a:lnTo>
                  <a:pt x="48" y="78"/>
                </a:lnTo>
                <a:lnTo>
                  <a:pt x="47" y="68"/>
                </a:lnTo>
                <a:lnTo>
                  <a:pt x="47" y="53"/>
                </a:lnTo>
                <a:lnTo>
                  <a:pt x="47" y="48"/>
                </a:lnTo>
                <a:lnTo>
                  <a:pt x="47" y="41"/>
                </a:lnTo>
                <a:lnTo>
                  <a:pt x="46" y="35"/>
                </a:lnTo>
                <a:lnTo>
                  <a:pt x="47" y="21"/>
                </a:lnTo>
                <a:lnTo>
                  <a:pt x="47" y="8"/>
                </a:lnTo>
                <a:lnTo>
                  <a:pt x="42" y="0"/>
                </a:lnTo>
                <a:lnTo>
                  <a:pt x="24" y="6"/>
                </a:lnTo>
                <a:lnTo>
                  <a:pt x="19" y="15"/>
                </a:lnTo>
                <a:lnTo>
                  <a:pt x="19" y="17"/>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57" name="Freeform 57">
            <a:extLst>
              <a:ext uri="{FF2B5EF4-FFF2-40B4-BE49-F238E27FC236}">
                <a16:creationId xmlns:a16="http://schemas.microsoft.com/office/drawing/2014/main" id="{CCB6AAF9-798B-4807-AEFA-09CE48C0CCFC}"/>
              </a:ext>
            </a:extLst>
          </p:cNvPr>
          <p:cNvSpPr>
            <a:spLocks/>
          </p:cNvSpPr>
          <p:nvPr>
            <p:custDataLst>
              <p:tags r:id="rId50"/>
            </p:custDataLst>
          </p:nvPr>
        </p:nvSpPr>
        <p:spPr bwMode="auto">
          <a:xfrm rot="120000">
            <a:off x="10621817" y="4069462"/>
            <a:ext cx="38099" cy="138108"/>
          </a:xfrm>
          <a:custGeom>
            <a:avLst/>
            <a:gdLst>
              <a:gd name="T0" fmla="*/ 19 w 23"/>
              <a:gd name="T1" fmla="*/ 0 h 85"/>
              <a:gd name="T2" fmla="*/ 16 w 23"/>
              <a:gd name="T3" fmla="*/ 0 h 85"/>
              <a:gd name="T4" fmla="*/ 12 w 23"/>
              <a:gd name="T5" fmla="*/ 11 h 85"/>
              <a:gd name="T6" fmla="*/ 8 w 23"/>
              <a:gd name="T7" fmla="*/ 21 h 85"/>
              <a:gd name="T8" fmla="*/ 6 w 23"/>
              <a:gd name="T9" fmla="*/ 44 h 85"/>
              <a:gd name="T10" fmla="*/ 0 w 23"/>
              <a:gd name="T11" fmla="*/ 57 h 85"/>
              <a:gd name="T12" fmla="*/ 3 w 23"/>
              <a:gd name="T13" fmla="*/ 82 h 85"/>
              <a:gd name="T14" fmla="*/ 4 w 23"/>
              <a:gd name="T15" fmla="*/ 85 h 85"/>
              <a:gd name="T16" fmla="*/ 16 w 23"/>
              <a:gd name="T17" fmla="*/ 66 h 85"/>
              <a:gd name="T18" fmla="*/ 23 w 23"/>
              <a:gd name="T19" fmla="*/ 43 h 85"/>
              <a:gd name="T20" fmla="*/ 21 w 23"/>
              <a:gd name="T21" fmla="*/ 32 h 85"/>
              <a:gd name="T22" fmla="*/ 19 w 23"/>
              <a:gd name="T23" fmla="*/ 5 h 85"/>
              <a:gd name="T24" fmla="*/ 19 w 23"/>
              <a:gd name="T25"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85">
                <a:moveTo>
                  <a:pt x="19" y="0"/>
                </a:moveTo>
                <a:lnTo>
                  <a:pt x="16" y="0"/>
                </a:lnTo>
                <a:lnTo>
                  <a:pt x="12" y="11"/>
                </a:lnTo>
                <a:lnTo>
                  <a:pt x="8" y="21"/>
                </a:lnTo>
                <a:lnTo>
                  <a:pt x="6" y="44"/>
                </a:lnTo>
                <a:lnTo>
                  <a:pt x="0" y="57"/>
                </a:lnTo>
                <a:lnTo>
                  <a:pt x="3" y="82"/>
                </a:lnTo>
                <a:lnTo>
                  <a:pt x="4" y="85"/>
                </a:lnTo>
                <a:lnTo>
                  <a:pt x="16" y="66"/>
                </a:lnTo>
                <a:lnTo>
                  <a:pt x="23" y="43"/>
                </a:lnTo>
                <a:lnTo>
                  <a:pt x="21" y="32"/>
                </a:lnTo>
                <a:lnTo>
                  <a:pt x="19" y="5"/>
                </a:lnTo>
                <a:lnTo>
                  <a:pt x="19"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58" name="Freeform 58">
            <a:extLst>
              <a:ext uri="{FF2B5EF4-FFF2-40B4-BE49-F238E27FC236}">
                <a16:creationId xmlns:a16="http://schemas.microsoft.com/office/drawing/2014/main" id="{F714547C-17A4-4666-85D3-267D91E31174}"/>
              </a:ext>
            </a:extLst>
          </p:cNvPr>
          <p:cNvSpPr>
            <a:spLocks/>
          </p:cNvSpPr>
          <p:nvPr>
            <p:custDataLst>
              <p:tags r:id="rId51"/>
            </p:custDataLst>
          </p:nvPr>
        </p:nvSpPr>
        <p:spPr bwMode="auto">
          <a:xfrm rot="120000">
            <a:off x="10080497" y="4167885"/>
            <a:ext cx="182557" cy="339716"/>
          </a:xfrm>
          <a:custGeom>
            <a:avLst/>
            <a:gdLst>
              <a:gd name="T0" fmla="*/ 98 w 112"/>
              <a:gd name="T1" fmla="*/ 0 h 210"/>
              <a:gd name="T2" fmla="*/ 110 w 112"/>
              <a:gd name="T3" fmla="*/ 21 h 210"/>
              <a:gd name="T4" fmla="*/ 112 w 112"/>
              <a:gd name="T5" fmla="*/ 36 h 210"/>
              <a:gd name="T6" fmla="*/ 112 w 112"/>
              <a:gd name="T7" fmla="*/ 49 h 210"/>
              <a:gd name="T8" fmla="*/ 106 w 112"/>
              <a:gd name="T9" fmla="*/ 59 h 210"/>
              <a:gd name="T10" fmla="*/ 101 w 112"/>
              <a:gd name="T11" fmla="*/ 72 h 210"/>
              <a:gd name="T12" fmla="*/ 98 w 112"/>
              <a:gd name="T13" fmla="*/ 83 h 210"/>
              <a:gd name="T14" fmla="*/ 93 w 112"/>
              <a:gd name="T15" fmla="*/ 94 h 210"/>
              <a:gd name="T16" fmla="*/ 76 w 112"/>
              <a:gd name="T17" fmla="*/ 111 h 210"/>
              <a:gd name="T18" fmla="*/ 79 w 112"/>
              <a:gd name="T19" fmla="*/ 125 h 210"/>
              <a:gd name="T20" fmla="*/ 64 w 112"/>
              <a:gd name="T21" fmla="*/ 137 h 210"/>
              <a:gd name="T22" fmla="*/ 62 w 112"/>
              <a:gd name="T23" fmla="*/ 148 h 210"/>
              <a:gd name="T24" fmla="*/ 17 w 112"/>
              <a:gd name="T25" fmla="*/ 192 h 210"/>
              <a:gd name="T26" fmla="*/ 8 w 112"/>
              <a:gd name="T27" fmla="*/ 207 h 210"/>
              <a:gd name="T28" fmla="*/ 6 w 112"/>
              <a:gd name="T29" fmla="*/ 210 h 210"/>
              <a:gd name="T30" fmla="*/ 3 w 112"/>
              <a:gd name="T31" fmla="*/ 207 h 210"/>
              <a:gd name="T32" fmla="*/ 0 w 112"/>
              <a:gd name="T33" fmla="*/ 179 h 210"/>
              <a:gd name="T34" fmla="*/ 6 w 112"/>
              <a:gd name="T35" fmla="*/ 169 h 210"/>
              <a:gd name="T36" fmla="*/ 11 w 112"/>
              <a:gd name="T37" fmla="*/ 164 h 210"/>
              <a:gd name="T38" fmla="*/ 22 w 112"/>
              <a:gd name="T39" fmla="*/ 156 h 210"/>
              <a:gd name="T40" fmla="*/ 24 w 112"/>
              <a:gd name="T41" fmla="*/ 145 h 210"/>
              <a:gd name="T42" fmla="*/ 31 w 112"/>
              <a:gd name="T43" fmla="*/ 134 h 210"/>
              <a:gd name="T44" fmla="*/ 41 w 112"/>
              <a:gd name="T45" fmla="*/ 125 h 210"/>
              <a:gd name="T46" fmla="*/ 49 w 112"/>
              <a:gd name="T47" fmla="*/ 114 h 210"/>
              <a:gd name="T48" fmla="*/ 57 w 112"/>
              <a:gd name="T49" fmla="*/ 101 h 210"/>
              <a:gd name="T50" fmla="*/ 62 w 112"/>
              <a:gd name="T51" fmla="*/ 89 h 210"/>
              <a:gd name="T52" fmla="*/ 70 w 112"/>
              <a:gd name="T53" fmla="*/ 78 h 210"/>
              <a:gd name="T54" fmla="*/ 73 w 112"/>
              <a:gd name="T55" fmla="*/ 62 h 210"/>
              <a:gd name="T56" fmla="*/ 76 w 112"/>
              <a:gd name="T57" fmla="*/ 57 h 210"/>
              <a:gd name="T58" fmla="*/ 87 w 112"/>
              <a:gd name="T59" fmla="*/ 47 h 210"/>
              <a:gd name="T60" fmla="*/ 87 w 112"/>
              <a:gd name="T61" fmla="*/ 28 h 210"/>
              <a:gd name="T62" fmla="*/ 85 w 112"/>
              <a:gd name="T63" fmla="*/ 15 h 210"/>
              <a:gd name="T64" fmla="*/ 87 w 112"/>
              <a:gd name="T65" fmla="*/ 2 h 210"/>
              <a:gd name="T66" fmla="*/ 95 w 112"/>
              <a:gd name="T67" fmla="*/ 0 h 210"/>
              <a:gd name="T68" fmla="*/ 98 w 112"/>
              <a:gd name="T6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210">
                <a:moveTo>
                  <a:pt x="98" y="0"/>
                </a:moveTo>
                <a:lnTo>
                  <a:pt x="110" y="21"/>
                </a:lnTo>
                <a:lnTo>
                  <a:pt x="112" y="36"/>
                </a:lnTo>
                <a:lnTo>
                  <a:pt x="112" y="49"/>
                </a:lnTo>
                <a:lnTo>
                  <a:pt x="106" y="59"/>
                </a:lnTo>
                <a:lnTo>
                  <a:pt x="101" y="72"/>
                </a:lnTo>
                <a:lnTo>
                  <a:pt x="98" y="83"/>
                </a:lnTo>
                <a:lnTo>
                  <a:pt x="93" y="94"/>
                </a:lnTo>
                <a:lnTo>
                  <a:pt x="76" y="111"/>
                </a:lnTo>
                <a:lnTo>
                  <a:pt x="79" y="125"/>
                </a:lnTo>
                <a:lnTo>
                  <a:pt x="64" y="137"/>
                </a:lnTo>
                <a:lnTo>
                  <a:pt x="62" y="148"/>
                </a:lnTo>
                <a:lnTo>
                  <a:pt x="17" y="192"/>
                </a:lnTo>
                <a:lnTo>
                  <a:pt x="8" y="207"/>
                </a:lnTo>
                <a:lnTo>
                  <a:pt x="6" y="210"/>
                </a:lnTo>
                <a:lnTo>
                  <a:pt x="3" y="207"/>
                </a:lnTo>
                <a:lnTo>
                  <a:pt x="0" y="179"/>
                </a:lnTo>
                <a:lnTo>
                  <a:pt x="6" y="169"/>
                </a:lnTo>
                <a:lnTo>
                  <a:pt x="11" y="164"/>
                </a:lnTo>
                <a:lnTo>
                  <a:pt x="22" y="156"/>
                </a:lnTo>
                <a:lnTo>
                  <a:pt x="24" y="145"/>
                </a:lnTo>
                <a:lnTo>
                  <a:pt x="31" y="134"/>
                </a:lnTo>
                <a:lnTo>
                  <a:pt x="41" y="125"/>
                </a:lnTo>
                <a:lnTo>
                  <a:pt x="49" y="114"/>
                </a:lnTo>
                <a:lnTo>
                  <a:pt x="57" y="101"/>
                </a:lnTo>
                <a:lnTo>
                  <a:pt x="62" y="89"/>
                </a:lnTo>
                <a:lnTo>
                  <a:pt x="70" y="78"/>
                </a:lnTo>
                <a:lnTo>
                  <a:pt x="73" y="62"/>
                </a:lnTo>
                <a:lnTo>
                  <a:pt x="76" y="57"/>
                </a:lnTo>
                <a:lnTo>
                  <a:pt x="87" y="47"/>
                </a:lnTo>
                <a:lnTo>
                  <a:pt x="87" y="28"/>
                </a:lnTo>
                <a:lnTo>
                  <a:pt x="85" y="15"/>
                </a:lnTo>
                <a:lnTo>
                  <a:pt x="87" y="2"/>
                </a:lnTo>
                <a:lnTo>
                  <a:pt x="95" y="0"/>
                </a:lnTo>
                <a:lnTo>
                  <a:pt x="98"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59" name="Freeform 59">
            <a:extLst>
              <a:ext uri="{FF2B5EF4-FFF2-40B4-BE49-F238E27FC236}">
                <a16:creationId xmlns:a16="http://schemas.microsoft.com/office/drawing/2014/main" id="{0F2978B9-0EC3-4EF7-8E07-9EDB33A91B1F}"/>
              </a:ext>
            </a:extLst>
          </p:cNvPr>
          <p:cNvSpPr>
            <a:spLocks/>
          </p:cNvSpPr>
          <p:nvPr>
            <p:custDataLst>
              <p:tags r:id="rId52"/>
            </p:custDataLst>
          </p:nvPr>
        </p:nvSpPr>
        <p:spPr bwMode="auto">
          <a:xfrm rot="120000">
            <a:off x="10251939" y="4153598"/>
            <a:ext cx="19049" cy="22224"/>
          </a:xfrm>
          <a:custGeom>
            <a:avLst/>
            <a:gdLst>
              <a:gd name="T0" fmla="*/ 6 w 13"/>
              <a:gd name="T1" fmla="*/ 13 h 13"/>
              <a:gd name="T2" fmla="*/ 0 w 13"/>
              <a:gd name="T3" fmla="*/ 6 h 13"/>
              <a:gd name="T4" fmla="*/ 1 w 13"/>
              <a:gd name="T5" fmla="*/ 2 h 13"/>
              <a:gd name="T6" fmla="*/ 1 w 13"/>
              <a:gd name="T7" fmla="*/ 0 h 13"/>
              <a:gd name="T8" fmla="*/ 9 w 13"/>
              <a:gd name="T9" fmla="*/ 1 h 13"/>
              <a:gd name="T10" fmla="*/ 13 w 13"/>
              <a:gd name="T11" fmla="*/ 5 h 13"/>
              <a:gd name="T12" fmla="*/ 13 w 13"/>
              <a:gd name="T13" fmla="*/ 9 h 13"/>
              <a:gd name="T14" fmla="*/ 6 w 13"/>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3">
                <a:moveTo>
                  <a:pt x="6" y="13"/>
                </a:moveTo>
                <a:lnTo>
                  <a:pt x="0" y="6"/>
                </a:lnTo>
                <a:lnTo>
                  <a:pt x="1" y="2"/>
                </a:lnTo>
                <a:lnTo>
                  <a:pt x="1" y="0"/>
                </a:lnTo>
                <a:lnTo>
                  <a:pt x="9" y="1"/>
                </a:lnTo>
                <a:lnTo>
                  <a:pt x="13" y="5"/>
                </a:lnTo>
                <a:lnTo>
                  <a:pt x="13" y="9"/>
                </a:lnTo>
                <a:lnTo>
                  <a:pt x="6" y="13"/>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60" name="Freeform 60">
            <a:extLst>
              <a:ext uri="{FF2B5EF4-FFF2-40B4-BE49-F238E27FC236}">
                <a16:creationId xmlns:a16="http://schemas.microsoft.com/office/drawing/2014/main" id="{05E2A21B-9355-42F0-8BF5-7F549DE4F7C5}"/>
              </a:ext>
            </a:extLst>
          </p:cNvPr>
          <p:cNvSpPr>
            <a:spLocks/>
          </p:cNvSpPr>
          <p:nvPr>
            <p:custDataLst>
              <p:tags r:id="rId53"/>
            </p:custDataLst>
          </p:nvPr>
        </p:nvSpPr>
        <p:spPr bwMode="auto">
          <a:xfrm rot="120000">
            <a:off x="10180506" y="3507505"/>
            <a:ext cx="473062" cy="447662"/>
          </a:xfrm>
          <a:custGeom>
            <a:avLst/>
            <a:gdLst>
              <a:gd name="T0" fmla="*/ 289 w 290"/>
              <a:gd name="T1" fmla="*/ 265 h 276"/>
              <a:gd name="T2" fmla="*/ 283 w 290"/>
              <a:gd name="T3" fmla="*/ 253 h 276"/>
              <a:gd name="T4" fmla="*/ 270 w 290"/>
              <a:gd name="T5" fmla="*/ 231 h 276"/>
              <a:gd name="T6" fmla="*/ 264 w 290"/>
              <a:gd name="T7" fmla="*/ 226 h 276"/>
              <a:gd name="T8" fmla="*/ 251 w 290"/>
              <a:gd name="T9" fmla="*/ 219 h 276"/>
              <a:gd name="T10" fmla="*/ 231 w 290"/>
              <a:gd name="T11" fmla="*/ 216 h 276"/>
              <a:gd name="T12" fmla="*/ 210 w 290"/>
              <a:gd name="T13" fmla="*/ 208 h 276"/>
              <a:gd name="T14" fmla="*/ 173 w 290"/>
              <a:gd name="T15" fmla="*/ 205 h 276"/>
              <a:gd name="T16" fmla="*/ 158 w 290"/>
              <a:gd name="T17" fmla="*/ 219 h 276"/>
              <a:gd name="T18" fmla="*/ 148 w 290"/>
              <a:gd name="T19" fmla="*/ 223 h 276"/>
              <a:gd name="T20" fmla="*/ 143 w 290"/>
              <a:gd name="T21" fmla="*/ 198 h 276"/>
              <a:gd name="T22" fmla="*/ 126 w 290"/>
              <a:gd name="T23" fmla="*/ 156 h 276"/>
              <a:gd name="T24" fmla="*/ 123 w 290"/>
              <a:gd name="T25" fmla="*/ 130 h 276"/>
              <a:gd name="T26" fmla="*/ 143 w 290"/>
              <a:gd name="T27" fmla="*/ 128 h 276"/>
              <a:gd name="T28" fmla="*/ 151 w 290"/>
              <a:gd name="T29" fmla="*/ 123 h 276"/>
              <a:gd name="T30" fmla="*/ 155 w 290"/>
              <a:gd name="T31" fmla="*/ 70 h 276"/>
              <a:gd name="T32" fmla="*/ 143 w 290"/>
              <a:gd name="T33" fmla="*/ 36 h 276"/>
              <a:gd name="T34" fmla="*/ 136 w 290"/>
              <a:gd name="T35" fmla="*/ 21 h 276"/>
              <a:gd name="T36" fmla="*/ 105 w 290"/>
              <a:gd name="T37" fmla="*/ 8 h 276"/>
              <a:gd name="T38" fmla="*/ 83 w 290"/>
              <a:gd name="T39" fmla="*/ 0 h 276"/>
              <a:gd name="T40" fmla="*/ 50 w 290"/>
              <a:gd name="T41" fmla="*/ 3 h 276"/>
              <a:gd name="T42" fmla="*/ 23 w 290"/>
              <a:gd name="T43" fmla="*/ 28 h 276"/>
              <a:gd name="T44" fmla="*/ 28 w 290"/>
              <a:gd name="T45" fmla="*/ 66 h 276"/>
              <a:gd name="T46" fmla="*/ 37 w 290"/>
              <a:gd name="T47" fmla="*/ 99 h 276"/>
              <a:gd name="T48" fmla="*/ 55 w 290"/>
              <a:gd name="T49" fmla="*/ 133 h 276"/>
              <a:gd name="T50" fmla="*/ 43 w 290"/>
              <a:gd name="T51" fmla="*/ 148 h 276"/>
              <a:gd name="T52" fmla="*/ 26 w 290"/>
              <a:gd name="T53" fmla="*/ 141 h 276"/>
              <a:gd name="T54" fmla="*/ 1 w 290"/>
              <a:gd name="T55" fmla="*/ 141 h 276"/>
              <a:gd name="T56" fmla="*/ 0 w 290"/>
              <a:gd name="T57" fmla="*/ 151 h 276"/>
              <a:gd name="T58" fmla="*/ 20 w 290"/>
              <a:gd name="T59" fmla="*/ 184 h 276"/>
              <a:gd name="T60" fmla="*/ 28 w 290"/>
              <a:gd name="T61" fmla="*/ 198 h 276"/>
              <a:gd name="T62" fmla="*/ 50 w 290"/>
              <a:gd name="T63" fmla="*/ 211 h 276"/>
              <a:gd name="T64" fmla="*/ 86 w 290"/>
              <a:gd name="T65" fmla="*/ 220 h 276"/>
              <a:gd name="T66" fmla="*/ 88 w 290"/>
              <a:gd name="T67" fmla="*/ 237 h 276"/>
              <a:gd name="T68" fmla="*/ 99 w 290"/>
              <a:gd name="T69" fmla="*/ 268 h 276"/>
              <a:gd name="T70" fmla="*/ 136 w 290"/>
              <a:gd name="T71" fmla="*/ 262 h 276"/>
              <a:gd name="T72" fmla="*/ 158 w 290"/>
              <a:gd name="T73" fmla="*/ 249 h 276"/>
              <a:gd name="T74" fmla="*/ 180 w 290"/>
              <a:gd name="T75" fmla="*/ 260 h 276"/>
              <a:gd name="T76" fmla="*/ 201 w 290"/>
              <a:gd name="T77" fmla="*/ 268 h 276"/>
              <a:gd name="T78" fmla="*/ 204 w 290"/>
              <a:gd name="T79" fmla="*/ 262 h 276"/>
              <a:gd name="T80" fmla="*/ 207 w 290"/>
              <a:gd name="T81" fmla="*/ 244 h 276"/>
              <a:gd name="T82" fmla="*/ 223 w 290"/>
              <a:gd name="T83" fmla="*/ 249 h 276"/>
              <a:gd name="T84" fmla="*/ 237 w 290"/>
              <a:gd name="T85" fmla="*/ 265 h 276"/>
              <a:gd name="T86" fmla="*/ 264 w 290"/>
              <a:gd name="T87" fmla="*/ 268 h 276"/>
              <a:gd name="T88" fmla="*/ 290 w 290"/>
              <a:gd name="T89" fmla="*/ 273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0" h="276">
                <a:moveTo>
                  <a:pt x="290" y="273"/>
                </a:moveTo>
                <a:lnTo>
                  <a:pt x="289" y="265"/>
                </a:lnTo>
                <a:lnTo>
                  <a:pt x="286" y="255"/>
                </a:lnTo>
                <a:lnTo>
                  <a:pt x="283" y="253"/>
                </a:lnTo>
                <a:lnTo>
                  <a:pt x="275" y="242"/>
                </a:lnTo>
                <a:lnTo>
                  <a:pt x="270" y="231"/>
                </a:lnTo>
                <a:lnTo>
                  <a:pt x="265" y="227"/>
                </a:lnTo>
                <a:lnTo>
                  <a:pt x="264" y="226"/>
                </a:lnTo>
                <a:lnTo>
                  <a:pt x="262" y="226"/>
                </a:lnTo>
                <a:lnTo>
                  <a:pt x="251" y="219"/>
                </a:lnTo>
                <a:lnTo>
                  <a:pt x="240" y="216"/>
                </a:lnTo>
                <a:lnTo>
                  <a:pt x="231" y="216"/>
                </a:lnTo>
                <a:lnTo>
                  <a:pt x="221" y="213"/>
                </a:lnTo>
                <a:lnTo>
                  <a:pt x="210" y="208"/>
                </a:lnTo>
                <a:lnTo>
                  <a:pt x="199" y="205"/>
                </a:lnTo>
                <a:lnTo>
                  <a:pt x="173" y="205"/>
                </a:lnTo>
                <a:lnTo>
                  <a:pt x="167" y="208"/>
                </a:lnTo>
                <a:lnTo>
                  <a:pt x="158" y="219"/>
                </a:lnTo>
                <a:lnTo>
                  <a:pt x="153" y="223"/>
                </a:lnTo>
                <a:lnTo>
                  <a:pt x="148" y="223"/>
                </a:lnTo>
                <a:lnTo>
                  <a:pt x="148" y="211"/>
                </a:lnTo>
                <a:lnTo>
                  <a:pt x="143" y="198"/>
                </a:lnTo>
                <a:lnTo>
                  <a:pt x="139" y="181"/>
                </a:lnTo>
                <a:lnTo>
                  <a:pt x="126" y="156"/>
                </a:lnTo>
                <a:lnTo>
                  <a:pt x="123" y="143"/>
                </a:lnTo>
                <a:lnTo>
                  <a:pt x="123" y="130"/>
                </a:lnTo>
                <a:lnTo>
                  <a:pt x="131" y="125"/>
                </a:lnTo>
                <a:lnTo>
                  <a:pt x="143" y="128"/>
                </a:lnTo>
                <a:lnTo>
                  <a:pt x="145" y="128"/>
                </a:lnTo>
                <a:lnTo>
                  <a:pt x="151" y="123"/>
                </a:lnTo>
                <a:lnTo>
                  <a:pt x="153" y="89"/>
                </a:lnTo>
                <a:lnTo>
                  <a:pt x="155" y="70"/>
                </a:lnTo>
                <a:lnTo>
                  <a:pt x="153" y="57"/>
                </a:lnTo>
                <a:lnTo>
                  <a:pt x="143" y="36"/>
                </a:lnTo>
                <a:lnTo>
                  <a:pt x="139" y="27"/>
                </a:lnTo>
                <a:lnTo>
                  <a:pt x="136" y="21"/>
                </a:lnTo>
                <a:lnTo>
                  <a:pt x="126" y="18"/>
                </a:lnTo>
                <a:lnTo>
                  <a:pt x="105" y="8"/>
                </a:lnTo>
                <a:lnTo>
                  <a:pt x="93" y="5"/>
                </a:lnTo>
                <a:lnTo>
                  <a:pt x="83" y="0"/>
                </a:lnTo>
                <a:lnTo>
                  <a:pt x="53" y="0"/>
                </a:lnTo>
                <a:lnTo>
                  <a:pt x="50" y="3"/>
                </a:lnTo>
                <a:lnTo>
                  <a:pt x="28" y="18"/>
                </a:lnTo>
                <a:lnTo>
                  <a:pt x="23" y="28"/>
                </a:lnTo>
                <a:lnTo>
                  <a:pt x="23" y="42"/>
                </a:lnTo>
                <a:lnTo>
                  <a:pt x="28" y="66"/>
                </a:lnTo>
                <a:lnTo>
                  <a:pt x="37" y="81"/>
                </a:lnTo>
                <a:lnTo>
                  <a:pt x="37" y="99"/>
                </a:lnTo>
                <a:lnTo>
                  <a:pt x="47" y="120"/>
                </a:lnTo>
                <a:lnTo>
                  <a:pt x="55" y="133"/>
                </a:lnTo>
                <a:lnTo>
                  <a:pt x="55" y="136"/>
                </a:lnTo>
                <a:lnTo>
                  <a:pt x="43" y="148"/>
                </a:lnTo>
                <a:lnTo>
                  <a:pt x="37" y="148"/>
                </a:lnTo>
                <a:lnTo>
                  <a:pt x="26" y="141"/>
                </a:lnTo>
                <a:lnTo>
                  <a:pt x="13" y="138"/>
                </a:lnTo>
                <a:lnTo>
                  <a:pt x="1" y="141"/>
                </a:lnTo>
                <a:lnTo>
                  <a:pt x="0" y="143"/>
                </a:lnTo>
                <a:lnTo>
                  <a:pt x="0" y="151"/>
                </a:lnTo>
                <a:lnTo>
                  <a:pt x="9" y="172"/>
                </a:lnTo>
                <a:lnTo>
                  <a:pt x="20" y="184"/>
                </a:lnTo>
                <a:lnTo>
                  <a:pt x="26" y="195"/>
                </a:lnTo>
                <a:lnTo>
                  <a:pt x="28" y="198"/>
                </a:lnTo>
                <a:lnTo>
                  <a:pt x="39" y="205"/>
                </a:lnTo>
                <a:lnTo>
                  <a:pt x="50" y="211"/>
                </a:lnTo>
                <a:lnTo>
                  <a:pt x="62" y="220"/>
                </a:lnTo>
                <a:lnTo>
                  <a:pt x="86" y="220"/>
                </a:lnTo>
                <a:lnTo>
                  <a:pt x="88" y="223"/>
                </a:lnTo>
                <a:lnTo>
                  <a:pt x="88" y="237"/>
                </a:lnTo>
                <a:lnTo>
                  <a:pt x="86" y="249"/>
                </a:lnTo>
                <a:lnTo>
                  <a:pt x="99" y="268"/>
                </a:lnTo>
                <a:lnTo>
                  <a:pt x="126" y="268"/>
                </a:lnTo>
                <a:lnTo>
                  <a:pt x="136" y="262"/>
                </a:lnTo>
                <a:lnTo>
                  <a:pt x="148" y="253"/>
                </a:lnTo>
                <a:lnTo>
                  <a:pt x="158" y="249"/>
                </a:lnTo>
                <a:lnTo>
                  <a:pt x="169" y="253"/>
                </a:lnTo>
                <a:lnTo>
                  <a:pt x="180" y="260"/>
                </a:lnTo>
                <a:lnTo>
                  <a:pt x="191" y="262"/>
                </a:lnTo>
                <a:lnTo>
                  <a:pt x="201" y="268"/>
                </a:lnTo>
                <a:lnTo>
                  <a:pt x="204" y="265"/>
                </a:lnTo>
                <a:lnTo>
                  <a:pt x="204" y="262"/>
                </a:lnTo>
                <a:lnTo>
                  <a:pt x="201" y="253"/>
                </a:lnTo>
                <a:lnTo>
                  <a:pt x="207" y="244"/>
                </a:lnTo>
                <a:lnTo>
                  <a:pt x="210" y="244"/>
                </a:lnTo>
                <a:lnTo>
                  <a:pt x="223" y="249"/>
                </a:lnTo>
                <a:lnTo>
                  <a:pt x="230" y="255"/>
                </a:lnTo>
                <a:lnTo>
                  <a:pt x="237" y="265"/>
                </a:lnTo>
                <a:lnTo>
                  <a:pt x="253" y="265"/>
                </a:lnTo>
                <a:lnTo>
                  <a:pt x="264" y="268"/>
                </a:lnTo>
                <a:lnTo>
                  <a:pt x="275" y="276"/>
                </a:lnTo>
                <a:lnTo>
                  <a:pt x="290" y="273"/>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61" name="Freeform 61">
            <a:extLst>
              <a:ext uri="{FF2B5EF4-FFF2-40B4-BE49-F238E27FC236}">
                <a16:creationId xmlns:a16="http://schemas.microsoft.com/office/drawing/2014/main" id="{27A8E06A-0BD6-48B0-AAEC-E8071490D27B}"/>
              </a:ext>
            </a:extLst>
          </p:cNvPr>
          <p:cNvSpPr>
            <a:spLocks/>
          </p:cNvSpPr>
          <p:nvPr>
            <p:custDataLst>
              <p:tags r:id="rId54"/>
            </p:custDataLst>
          </p:nvPr>
        </p:nvSpPr>
        <p:spPr bwMode="auto">
          <a:xfrm rot="120000">
            <a:off x="10656742" y="4013901"/>
            <a:ext cx="34924" cy="31749"/>
          </a:xfrm>
          <a:custGeom>
            <a:avLst/>
            <a:gdLst>
              <a:gd name="T0" fmla="*/ 18 w 22"/>
              <a:gd name="T1" fmla="*/ 15 h 20"/>
              <a:gd name="T2" fmla="*/ 22 w 22"/>
              <a:gd name="T3" fmla="*/ 8 h 20"/>
              <a:gd name="T4" fmla="*/ 20 w 22"/>
              <a:gd name="T5" fmla="*/ 2 h 20"/>
              <a:gd name="T6" fmla="*/ 14 w 22"/>
              <a:gd name="T7" fmla="*/ 0 h 20"/>
              <a:gd name="T8" fmla="*/ 0 w 22"/>
              <a:gd name="T9" fmla="*/ 0 h 20"/>
              <a:gd name="T10" fmla="*/ 0 w 22"/>
              <a:gd name="T11" fmla="*/ 11 h 20"/>
              <a:gd name="T12" fmla="*/ 7 w 22"/>
              <a:gd name="T13" fmla="*/ 20 h 20"/>
              <a:gd name="T14" fmla="*/ 16 w 22"/>
              <a:gd name="T15" fmla="*/ 17 h 20"/>
              <a:gd name="T16" fmla="*/ 18 w 22"/>
              <a:gd name="T17"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20">
                <a:moveTo>
                  <a:pt x="18" y="15"/>
                </a:moveTo>
                <a:lnTo>
                  <a:pt x="22" y="8"/>
                </a:lnTo>
                <a:lnTo>
                  <a:pt x="20" y="2"/>
                </a:lnTo>
                <a:lnTo>
                  <a:pt x="14" y="0"/>
                </a:lnTo>
                <a:lnTo>
                  <a:pt x="0" y="0"/>
                </a:lnTo>
                <a:lnTo>
                  <a:pt x="0" y="11"/>
                </a:lnTo>
                <a:lnTo>
                  <a:pt x="7" y="20"/>
                </a:lnTo>
                <a:lnTo>
                  <a:pt x="16" y="17"/>
                </a:lnTo>
                <a:lnTo>
                  <a:pt x="18" y="15"/>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62" name="Freeform 62">
            <a:extLst>
              <a:ext uri="{FF2B5EF4-FFF2-40B4-BE49-F238E27FC236}">
                <a16:creationId xmlns:a16="http://schemas.microsoft.com/office/drawing/2014/main" id="{6E8DF4BD-DDFF-4333-9416-4145B79CC938}"/>
              </a:ext>
            </a:extLst>
          </p:cNvPr>
          <p:cNvSpPr>
            <a:spLocks/>
          </p:cNvSpPr>
          <p:nvPr>
            <p:custDataLst>
              <p:tags r:id="rId55"/>
            </p:custDataLst>
          </p:nvPr>
        </p:nvSpPr>
        <p:spPr bwMode="auto">
          <a:xfrm rot="120000">
            <a:off x="10669440" y="4052000"/>
            <a:ext cx="112709" cy="77786"/>
          </a:xfrm>
          <a:custGeom>
            <a:avLst/>
            <a:gdLst>
              <a:gd name="T0" fmla="*/ 9 w 70"/>
              <a:gd name="T1" fmla="*/ 3 h 47"/>
              <a:gd name="T2" fmla="*/ 0 w 70"/>
              <a:gd name="T3" fmla="*/ 8 h 47"/>
              <a:gd name="T4" fmla="*/ 0 w 70"/>
              <a:gd name="T5" fmla="*/ 11 h 47"/>
              <a:gd name="T6" fmla="*/ 3 w 70"/>
              <a:gd name="T7" fmla="*/ 19 h 47"/>
              <a:gd name="T8" fmla="*/ 5 w 70"/>
              <a:gd name="T9" fmla="*/ 25 h 47"/>
              <a:gd name="T10" fmla="*/ 11 w 70"/>
              <a:gd name="T11" fmla="*/ 33 h 47"/>
              <a:gd name="T12" fmla="*/ 18 w 70"/>
              <a:gd name="T13" fmla="*/ 36 h 47"/>
              <a:gd name="T14" fmla="*/ 40 w 70"/>
              <a:gd name="T15" fmla="*/ 38 h 47"/>
              <a:gd name="T16" fmla="*/ 51 w 70"/>
              <a:gd name="T17" fmla="*/ 47 h 47"/>
              <a:gd name="T18" fmla="*/ 65 w 70"/>
              <a:gd name="T19" fmla="*/ 47 h 47"/>
              <a:gd name="T20" fmla="*/ 70 w 70"/>
              <a:gd name="T21" fmla="*/ 44 h 47"/>
              <a:gd name="T22" fmla="*/ 65 w 70"/>
              <a:gd name="T23" fmla="*/ 36 h 47"/>
              <a:gd name="T24" fmla="*/ 45 w 70"/>
              <a:gd name="T25" fmla="*/ 18 h 47"/>
              <a:gd name="T26" fmla="*/ 34 w 70"/>
              <a:gd name="T27" fmla="*/ 13 h 47"/>
              <a:gd name="T28" fmla="*/ 22 w 70"/>
              <a:gd name="T29" fmla="*/ 0 h 47"/>
              <a:gd name="T30" fmla="*/ 10 w 70"/>
              <a:gd name="T31" fmla="*/ 0 h 47"/>
              <a:gd name="T32" fmla="*/ 9 w 70"/>
              <a:gd name="T33" fmla="*/ 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47">
                <a:moveTo>
                  <a:pt x="9" y="3"/>
                </a:moveTo>
                <a:lnTo>
                  <a:pt x="0" y="8"/>
                </a:lnTo>
                <a:lnTo>
                  <a:pt x="0" y="11"/>
                </a:lnTo>
                <a:lnTo>
                  <a:pt x="3" y="19"/>
                </a:lnTo>
                <a:lnTo>
                  <a:pt x="5" y="25"/>
                </a:lnTo>
                <a:lnTo>
                  <a:pt x="11" y="33"/>
                </a:lnTo>
                <a:lnTo>
                  <a:pt x="18" y="36"/>
                </a:lnTo>
                <a:lnTo>
                  <a:pt x="40" y="38"/>
                </a:lnTo>
                <a:lnTo>
                  <a:pt x="51" y="47"/>
                </a:lnTo>
                <a:lnTo>
                  <a:pt x="65" y="47"/>
                </a:lnTo>
                <a:lnTo>
                  <a:pt x="70" y="44"/>
                </a:lnTo>
                <a:lnTo>
                  <a:pt x="65" y="36"/>
                </a:lnTo>
                <a:lnTo>
                  <a:pt x="45" y="18"/>
                </a:lnTo>
                <a:lnTo>
                  <a:pt x="34" y="13"/>
                </a:lnTo>
                <a:lnTo>
                  <a:pt x="22" y="0"/>
                </a:lnTo>
                <a:lnTo>
                  <a:pt x="10" y="0"/>
                </a:lnTo>
                <a:lnTo>
                  <a:pt x="9" y="3"/>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63" name="Freeform 63">
            <a:extLst>
              <a:ext uri="{FF2B5EF4-FFF2-40B4-BE49-F238E27FC236}">
                <a16:creationId xmlns:a16="http://schemas.microsoft.com/office/drawing/2014/main" id="{BA2618DB-B3C5-46EB-A34C-D200B5C40291}"/>
              </a:ext>
            </a:extLst>
          </p:cNvPr>
          <p:cNvSpPr>
            <a:spLocks/>
          </p:cNvSpPr>
          <p:nvPr>
            <p:custDataLst>
              <p:tags r:id="rId56"/>
            </p:custDataLst>
          </p:nvPr>
        </p:nvSpPr>
        <p:spPr bwMode="auto">
          <a:xfrm rot="120000">
            <a:off x="9442339" y="4586972"/>
            <a:ext cx="852463" cy="634982"/>
          </a:xfrm>
          <a:custGeom>
            <a:avLst/>
            <a:gdLst>
              <a:gd name="T0" fmla="*/ 238 w 522"/>
              <a:gd name="T1" fmla="*/ 166 h 391"/>
              <a:gd name="T2" fmla="*/ 230 w 522"/>
              <a:gd name="T3" fmla="*/ 195 h 391"/>
              <a:gd name="T4" fmla="*/ 203 w 522"/>
              <a:gd name="T5" fmla="*/ 221 h 391"/>
              <a:gd name="T6" fmla="*/ 192 w 522"/>
              <a:gd name="T7" fmla="*/ 242 h 391"/>
              <a:gd name="T8" fmla="*/ 168 w 522"/>
              <a:gd name="T9" fmla="*/ 263 h 391"/>
              <a:gd name="T10" fmla="*/ 143 w 522"/>
              <a:gd name="T11" fmla="*/ 278 h 391"/>
              <a:gd name="T12" fmla="*/ 108 w 522"/>
              <a:gd name="T13" fmla="*/ 289 h 391"/>
              <a:gd name="T14" fmla="*/ 98 w 522"/>
              <a:gd name="T15" fmla="*/ 328 h 391"/>
              <a:gd name="T16" fmla="*/ 89 w 522"/>
              <a:gd name="T17" fmla="*/ 349 h 391"/>
              <a:gd name="T18" fmla="*/ 102 w 522"/>
              <a:gd name="T19" fmla="*/ 364 h 391"/>
              <a:gd name="T20" fmla="*/ 61 w 522"/>
              <a:gd name="T21" fmla="*/ 364 h 391"/>
              <a:gd name="T22" fmla="*/ 16 w 522"/>
              <a:gd name="T23" fmla="*/ 362 h 391"/>
              <a:gd name="T24" fmla="*/ 1 w 522"/>
              <a:gd name="T25" fmla="*/ 344 h 391"/>
              <a:gd name="T26" fmla="*/ 1 w 522"/>
              <a:gd name="T27" fmla="*/ 342 h 391"/>
              <a:gd name="T28" fmla="*/ 16 w 522"/>
              <a:gd name="T29" fmla="*/ 375 h 391"/>
              <a:gd name="T30" fmla="*/ 31 w 522"/>
              <a:gd name="T31" fmla="*/ 388 h 391"/>
              <a:gd name="T32" fmla="*/ 74 w 522"/>
              <a:gd name="T33" fmla="*/ 388 h 391"/>
              <a:gd name="T34" fmla="*/ 95 w 522"/>
              <a:gd name="T35" fmla="*/ 380 h 391"/>
              <a:gd name="T36" fmla="*/ 116 w 522"/>
              <a:gd name="T37" fmla="*/ 372 h 391"/>
              <a:gd name="T38" fmla="*/ 151 w 522"/>
              <a:gd name="T39" fmla="*/ 351 h 391"/>
              <a:gd name="T40" fmla="*/ 171 w 522"/>
              <a:gd name="T41" fmla="*/ 342 h 391"/>
              <a:gd name="T42" fmla="*/ 193 w 522"/>
              <a:gd name="T43" fmla="*/ 341 h 391"/>
              <a:gd name="T44" fmla="*/ 215 w 522"/>
              <a:gd name="T45" fmla="*/ 344 h 391"/>
              <a:gd name="T46" fmla="*/ 248 w 522"/>
              <a:gd name="T47" fmla="*/ 328 h 391"/>
              <a:gd name="T48" fmla="*/ 276 w 522"/>
              <a:gd name="T49" fmla="*/ 305 h 391"/>
              <a:gd name="T50" fmla="*/ 295 w 522"/>
              <a:gd name="T51" fmla="*/ 235 h 391"/>
              <a:gd name="T52" fmla="*/ 308 w 522"/>
              <a:gd name="T53" fmla="*/ 214 h 391"/>
              <a:gd name="T54" fmla="*/ 323 w 522"/>
              <a:gd name="T55" fmla="*/ 197 h 391"/>
              <a:gd name="T56" fmla="*/ 346 w 522"/>
              <a:gd name="T57" fmla="*/ 164 h 391"/>
              <a:gd name="T58" fmla="*/ 380 w 522"/>
              <a:gd name="T59" fmla="*/ 142 h 391"/>
              <a:gd name="T60" fmla="*/ 406 w 522"/>
              <a:gd name="T61" fmla="*/ 137 h 391"/>
              <a:gd name="T62" fmla="*/ 446 w 522"/>
              <a:gd name="T63" fmla="*/ 140 h 391"/>
              <a:gd name="T64" fmla="*/ 446 w 522"/>
              <a:gd name="T65" fmla="*/ 135 h 391"/>
              <a:gd name="T66" fmla="*/ 473 w 522"/>
              <a:gd name="T67" fmla="*/ 133 h 391"/>
              <a:gd name="T68" fmla="*/ 488 w 522"/>
              <a:gd name="T69" fmla="*/ 125 h 391"/>
              <a:gd name="T70" fmla="*/ 476 w 522"/>
              <a:gd name="T71" fmla="*/ 104 h 391"/>
              <a:gd name="T72" fmla="*/ 490 w 522"/>
              <a:gd name="T73" fmla="*/ 94 h 391"/>
              <a:gd name="T74" fmla="*/ 522 w 522"/>
              <a:gd name="T75" fmla="*/ 73 h 391"/>
              <a:gd name="T76" fmla="*/ 519 w 522"/>
              <a:gd name="T77" fmla="*/ 60 h 391"/>
              <a:gd name="T78" fmla="*/ 501 w 522"/>
              <a:gd name="T79" fmla="*/ 55 h 391"/>
              <a:gd name="T80" fmla="*/ 479 w 522"/>
              <a:gd name="T81" fmla="*/ 50 h 391"/>
              <a:gd name="T82" fmla="*/ 452 w 522"/>
              <a:gd name="T83" fmla="*/ 53 h 391"/>
              <a:gd name="T84" fmla="*/ 439 w 522"/>
              <a:gd name="T85" fmla="*/ 45 h 391"/>
              <a:gd name="T86" fmla="*/ 433 w 522"/>
              <a:gd name="T87" fmla="*/ 23 h 391"/>
              <a:gd name="T88" fmla="*/ 419 w 522"/>
              <a:gd name="T89" fmla="*/ 18 h 391"/>
              <a:gd name="T90" fmla="*/ 406 w 522"/>
              <a:gd name="T91" fmla="*/ 3 h 391"/>
              <a:gd name="T92" fmla="*/ 390 w 522"/>
              <a:gd name="T93" fmla="*/ 11 h 391"/>
              <a:gd name="T94" fmla="*/ 379 w 522"/>
              <a:gd name="T95" fmla="*/ 6 h 391"/>
              <a:gd name="T96" fmla="*/ 368 w 522"/>
              <a:gd name="T97" fmla="*/ 3 h 391"/>
              <a:gd name="T98" fmla="*/ 360 w 522"/>
              <a:gd name="T99" fmla="*/ 26 h 391"/>
              <a:gd name="T100" fmla="*/ 351 w 522"/>
              <a:gd name="T101" fmla="*/ 53 h 391"/>
              <a:gd name="T102" fmla="*/ 314 w 522"/>
              <a:gd name="T103" fmla="*/ 104 h 391"/>
              <a:gd name="T104" fmla="*/ 319 w 522"/>
              <a:gd name="T105" fmla="*/ 125 h 391"/>
              <a:gd name="T106" fmla="*/ 313 w 522"/>
              <a:gd name="T107" fmla="*/ 132 h 391"/>
              <a:gd name="T108" fmla="*/ 321 w 522"/>
              <a:gd name="T109" fmla="*/ 153 h 391"/>
              <a:gd name="T110" fmla="*/ 316 w 522"/>
              <a:gd name="T111" fmla="*/ 169 h 391"/>
              <a:gd name="T112" fmla="*/ 291 w 522"/>
              <a:gd name="T113" fmla="*/ 172 h 391"/>
              <a:gd name="T114" fmla="*/ 277 w 522"/>
              <a:gd name="T115" fmla="*/ 181 h 391"/>
              <a:gd name="T116" fmla="*/ 265 w 522"/>
              <a:gd name="T117" fmla="*/ 192 h 391"/>
              <a:gd name="T118" fmla="*/ 249 w 522"/>
              <a:gd name="T119" fmla="*/ 181 h 391"/>
              <a:gd name="T120" fmla="*/ 240 w 522"/>
              <a:gd name="T121" fmla="*/ 166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2" h="391">
                <a:moveTo>
                  <a:pt x="240" y="164"/>
                </a:moveTo>
                <a:lnTo>
                  <a:pt x="238" y="166"/>
                </a:lnTo>
                <a:lnTo>
                  <a:pt x="235" y="184"/>
                </a:lnTo>
                <a:lnTo>
                  <a:pt x="230" y="195"/>
                </a:lnTo>
                <a:lnTo>
                  <a:pt x="218" y="210"/>
                </a:lnTo>
                <a:lnTo>
                  <a:pt x="203" y="221"/>
                </a:lnTo>
                <a:lnTo>
                  <a:pt x="198" y="229"/>
                </a:lnTo>
                <a:lnTo>
                  <a:pt x="192" y="242"/>
                </a:lnTo>
                <a:lnTo>
                  <a:pt x="178" y="255"/>
                </a:lnTo>
                <a:lnTo>
                  <a:pt x="168" y="263"/>
                </a:lnTo>
                <a:lnTo>
                  <a:pt x="154" y="273"/>
                </a:lnTo>
                <a:lnTo>
                  <a:pt x="143" y="278"/>
                </a:lnTo>
                <a:lnTo>
                  <a:pt x="123" y="283"/>
                </a:lnTo>
                <a:lnTo>
                  <a:pt x="108" y="289"/>
                </a:lnTo>
                <a:lnTo>
                  <a:pt x="98" y="302"/>
                </a:lnTo>
                <a:lnTo>
                  <a:pt x="98" y="328"/>
                </a:lnTo>
                <a:lnTo>
                  <a:pt x="91" y="338"/>
                </a:lnTo>
                <a:lnTo>
                  <a:pt x="89" y="349"/>
                </a:lnTo>
                <a:lnTo>
                  <a:pt x="98" y="359"/>
                </a:lnTo>
                <a:lnTo>
                  <a:pt x="102" y="364"/>
                </a:lnTo>
                <a:lnTo>
                  <a:pt x="100" y="367"/>
                </a:lnTo>
                <a:lnTo>
                  <a:pt x="61" y="364"/>
                </a:lnTo>
                <a:lnTo>
                  <a:pt x="45" y="367"/>
                </a:lnTo>
                <a:lnTo>
                  <a:pt x="16" y="362"/>
                </a:lnTo>
                <a:lnTo>
                  <a:pt x="8" y="349"/>
                </a:lnTo>
                <a:lnTo>
                  <a:pt x="1" y="344"/>
                </a:lnTo>
                <a:lnTo>
                  <a:pt x="0" y="344"/>
                </a:lnTo>
                <a:lnTo>
                  <a:pt x="1" y="342"/>
                </a:lnTo>
                <a:lnTo>
                  <a:pt x="7" y="360"/>
                </a:lnTo>
                <a:lnTo>
                  <a:pt x="16" y="375"/>
                </a:lnTo>
                <a:lnTo>
                  <a:pt x="24" y="382"/>
                </a:lnTo>
                <a:lnTo>
                  <a:pt x="31" y="388"/>
                </a:lnTo>
                <a:lnTo>
                  <a:pt x="45" y="391"/>
                </a:lnTo>
                <a:lnTo>
                  <a:pt x="74" y="388"/>
                </a:lnTo>
                <a:lnTo>
                  <a:pt x="85" y="384"/>
                </a:lnTo>
                <a:lnTo>
                  <a:pt x="95" y="380"/>
                </a:lnTo>
                <a:lnTo>
                  <a:pt x="105" y="377"/>
                </a:lnTo>
                <a:lnTo>
                  <a:pt x="116" y="372"/>
                </a:lnTo>
                <a:lnTo>
                  <a:pt x="134" y="360"/>
                </a:lnTo>
                <a:lnTo>
                  <a:pt x="151" y="351"/>
                </a:lnTo>
                <a:lnTo>
                  <a:pt x="161" y="346"/>
                </a:lnTo>
                <a:lnTo>
                  <a:pt x="171" y="342"/>
                </a:lnTo>
                <a:lnTo>
                  <a:pt x="186" y="339"/>
                </a:lnTo>
                <a:lnTo>
                  <a:pt x="193" y="341"/>
                </a:lnTo>
                <a:lnTo>
                  <a:pt x="204" y="345"/>
                </a:lnTo>
                <a:lnTo>
                  <a:pt x="215" y="344"/>
                </a:lnTo>
                <a:lnTo>
                  <a:pt x="234" y="336"/>
                </a:lnTo>
                <a:lnTo>
                  <a:pt x="248" y="328"/>
                </a:lnTo>
                <a:lnTo>
                  <a:pt x="264" y="319"/>
                </a:lnTo>
                <a:lnTo>
                  <a:pt x="276" y="305"/>
                </a:lnTo>
                <a:lnTo>
                  <a:pt x="290" y="278"/>
                </a:lnTo>
                <a:lnTo>
                  <a:pt x="295" y="235"/>
                </a:lnTo>
                <a:lnTo>
                  <a:pt x="299" y="225"/>
                </a:lnTo>
                <a:lnTo>
                  <a:pt x="308" y="214"/>
                </a:lnTo>
                <a:lnTo>
                  <a:pt x="318" y="206"/>
                </a:lnTo>
                <a:lnTo>
                  <a:pt x="323" y="197"/>
                </a:lnTo>
                <a:lnTo>
                  <a:pt x="333" y="181"/>
                </a:lnTo>
                <a:lnTo>
                  <a:pt x="346" y="164"/>
                </a:lnTo>
                <a:lnTo>
                  <a:pt x="362" y="153"/>
                </a:lnTo>
                <a:lnTo>
                  <a:pt x="380" y="142"/>
                </a:lnTo>
                <a:lnTo>
                  <a:pt x="392" y="139"/>
                </a:lnTo>
                <a:lnTo>
                  <a:pt x="406" y="137"/>
                </a:lnTo>
                <a:lnTo>
                  <a:pt x="420" y="139"/>
                </a:lnTo>
                <a:lnTo>
                  <a:pt x="446" y="140"/>
                </a:lnTo>
                <a:lnTo>
                  <a:pt x="446" y="140"/>
                </a:lnTo>
                <a:lnTo>
                  <a:pt x="446" y="135"/>
                </a:lnTo>
                <a:lnTo>
                  <a:pt x="449" y="133"/>
                </a:lnTo>
                <a:lnTo>
                  <a:pt x="473" y="133"/>
                </a:lnTo>
                <a:lnTo>
                  <a:pt x="481" y="130"/>
                </a:lnTo>
                <a:lnTo>
                  <a:pt x="488" y="125"/>
                </a:lnTo>
                <a:lnTo>
                  <a:pt x="481" y="112"/>
                </a:lnTo>
                <a:lnTo>
                  <a:pt x="476" y="104"/>
                </a:lnTo>
                <a:lnTo>
                  <a:pt x="476" y="102"/>
                </a:lnTo>
                <a:lnTo>
                  <a:pt x="490" y="94"/>
                </a:lnTo>
                <a:lnTo>
                  <a:pt x="501" y="88"/>
                </a:lnTo>
                <a:lnTo>
                  <a:pt x="522" y="73"/>
                </a:lnTo>
                <a:lnTo>
                  <a:pt x="522" y="65"/>
                </a:lnTo>
                <a:lnTo>
                  <a:pt x="519" y="60"/>
                </a:lnTo>
                <a:lnTo>
                  <a:pt x="512" y="57"/>
                </a:lnTo>
                <a:lnTo>
                  <a:pt x="501" y="55"/>
                </a:lnTo>
                <a:lnTo>
                  <a:pt x="490" y="55"/>
                </a:lnTo>
                <a:lnTo>
                  <a:pt x="479" y="50"/>
                </a:lnTo>
                <a:lnTo>
                  <a:pt x="469" y="53"/>
                </a:lnTo>
                <a:lnTo>
                  <a:pt x="452" y="53"/>
                </a:lnTo>
                <a:lnTo>
                  <a:pt x="441" y="48"/>
                </a:lnTo>
                <a:lnTo>
                  <a:pt x="439" y="45"/>
                </a:lnTo>
                <a:lnTo>
                  <a:pt x="439" y="34"/>
                </a:lnTo>
                <a:lnTo>
                  <a:pt x="433" y="23"/>
                </a:lnTo>
                <a:lnTo>
                  <a:pt x="422" y="21"/>
                </a:lnTo>
                <a:lnTo>
                  <a:pt x="419" y="18"/>
                </a:lnTo>
                <a:lnTo>
                  <a:pt x="417" y="7"/>
                </a:lnTo>
                <a:lnTo>
                  <a:pt x="406" y="3"/>
                </a:lnTo>
                <a:lnTo>
                  <a:pt x="400" y="3"/>
                </a:lnTo>
                <a:lnTo>
                  <a:pt x="390" y="11"/>
                </a:lnTo>
                <a:lnTo>
                  <a:pt x="385" y="15"/>
                </a:lnTo>
                <a:lnTo>
                  <a:pt x="379" y="6"/>
                </a:lnTo>
                <a:lnTo>
                  <a:pt x="373" y="0"/>
                </a:lnTo>
                <a:lnTo>
                  <a:pt x="368" y="3"/>
                </a:lnTo>
                <a:lnTo>
                  <a:pt x="368" y="15"/>
                </a:lnTo>
                <a:lnTo>
                  <a:pt x="360" y="26"/>
                </a:lnTo>
                <a:lnTo>
                  <a:pt x="357" y="37"/>
                </a:lnTo>
                <a:lnTo>
                  <a:pt x="351" y="53"/>
                </a:lnTo>
                <a:lnTo>
                  <a:pt x="336" y="84"/>
                </a:lnTo>
                <a:lnTo>
                  <a:pt x="314" y="104"/>
                </a:lnTo>
                <a:lnTo>
                  <a:pt x="319" y="115"/>
                </a:lnTo>
                <a:lnTo>
                  <a:pt x="319" y="125"/>
                </a:lnTo>
                <a:lnTo>
                  <a:pt x="312" y="133"/>
                </a:lnTo>
                <a:lnTo>
                  <a:pt x="313" y="132"/>
                </a:lnTo>
                <a:lnTo>
                  <a:pt x="316" y="140"/>
                </a:lnTo>
                <a:lnTo>
                  <a:pt x="321" y="153"/>
                </a:lnTo>
                <a:lnTo>
                  <a:pt x="321" y="162"/>
                </a:lnTo>
                <a:lnTo>
                  <a:pt x="316" y="169"/>
                </a:lnTo>
                <a:lnTo>
                  <a:pt x="305" y="174"/>
                </a:lnTo>
                <a:lnTo>
                  <a:pt x="291" y="172"/>
                </a:lnTo>
                <a:lnTo>
                  <a:pt x="277" y="168"/>
                </a:lnTo>
                <a:lnTo>
                  <a:pt x="277" y="181"/>
                </a:lnTo>
                <a:lnTo>
                  <a:pt x="272" y="191"/>
                </a:lnTo>
                <a:lnTo>
                  <a:pt x="265" y="192"/>
                </a:lnTo>
                <a:lnTo>
                  <a:pt x="256" y="186"/>
                </a:lnTo>
                <a:lnTo>
                  <a:pt x="249" y="181"/>
                </a:lnTo>
                <a:lnTo>
                  <a:pt x="243" y="174"/>
                </a:lnTo>
                <a:lnTo>
                  <a:pt x="240" y="166"/>
                </a:lnTo>
                <a:lnTo>
                  <a:pt x="240" y="164"/>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64" name="Freeform 64">
            <a:extLst>
              <a:ext uri="{FF2B5EF4-FFF2-40B4-BE49-F238E27FC236}">
                <a16:creationId xmlns:a16="http://schemas.microsoft.com/office/drawing/2014/main" id="{DD04B5A2-A178-4205-82EE-FA1FD5DA338E}"/>
              </a:ext>
            </a:extLst>
          </p:cNvPr>
          <p:cNvSpPr>
            <a:spLocks/>
          </p:cNvSpPr>
          <p:nvPr>
            <p:custDataLst>
              <p:tags r:id="rId57"/>
            </p:custDataLst>
          </p:nvPr>
        </p:nvSpPr>
        <p:spPr bwMode="auto">
          <a:xfrm rot="120000">
            <a:off x="8997852" y="5490232"/>
            <a:ext cx="176208" cy="128585"/>
          </a:xfrm>
          <a:custGeom>
            <a:avLst/>
            <a:gdLst>
              <a:gd name="T0" fmla="*/ 68 w 108"/>
              <a:gd name="T1" fmla="*/ 69 h 80"/>
              <a:gd name="T2" fmla="*/ 52 w 108"/>
              <a:gd name="T3" fmla="*/ 54 h 80"/>
              <a:gd name="T4" fmla="*/ 52 w 108"/>
              <a:gd name="T5" fmla="*/ 51 h 80"/>
              <a:gd name="T6" fmla="*/ 44 w 108"/>
              <a:gd name="T7" fmla="*/ 41 h 80"/>
              <a:gd name="T8" fmla="*/ 27 w 108"/>
              <a:gd name="T9" fmla="*/ 36 h 80"/>
              <a:gd name="T10" fmla="*/ 11 w 108"/>
              <a:gd name="T11" fmla="*/ 39 h 80"/>
              <a:gd name="T12" fmla="*/ 0 w 108"/>
              <a:gd name="T13" fmla="*/ 34 h 80"/>
              <a:gd name="T14" fmla="*/ 0 w 108"/>
              <a:gd name="T15" fmla="*/ 29 h 80"/>
              <a:gd name="T16" fmla="*/ 3 w 108"/>
              <a:gd name="T17" fmla="*/ 26 h 80"/>
              <a:gd name="T18" fmla="*/ 9 w 108"/>
              <a:gd name="T19" fmla="*/ 13 h 80"/>
              <a:gd name="T20" fmla="*/ 14 w 108"/>
              <a:gd name="T21" fmla="*/ 4 h 80"/>
              <a:gd name="T22" fmla="*/ 16 w 108"/>
              <a:gd name="T23" fmla="*/ 0 h 80"/>
              <a:gd name="T24" fmla="*/ 22 w 108"/>
              <a:gd name="T25" fmla="*/ 5 h 80"/>
              <a:gd name="T26" fmla="*/ 27 w 108"/>
              <a:gd name="T27" fmla="*/ 16 h 80"/>
              <a:gd name="T28" fmla="*/ 30 w 108"/>
              <a:gd name="T29" fmla="*/ 16 h 80"/>
              <a:gd name="T30" fmla="*/ 35 w 108"/>
              <a:gd name="T31" fmla="*/ 11 h 80"/>
              <a:gd name="T32" fmla="*/ 38 w 108"/>
              <a:gd name="T33" fmla="*/ 0 h 80"/>
              <a:gd name="T34" fmla="*/ 44 w 108"/>
              <a:gd name="T35" fmla="*/ 0 h 80"/>
              <a:gd name="T36" fmla="*/ 57 w 108"/>
              <a:gd name="T37" fmla="*/ 11 h 80"/>
              <a:gd name="T38" fmla="*/ 59 w 108"/>
              <a:gd name="T39" fmla="*/ 26 h 80"/>
              <a:gd name="T40" fmla="*/ 68 w 108"/>
              <a:gd name="T41" fmla="*/ 34 h 80"/>
              <a:gd name="T42" fmla="*/ 78 w 108"/>
              <a:gd name="T43" fmla="*/ 39 h 80"/>
              <a:gd name="T44" fmla="*/ 89 w 108"/>
              <a:gd name="T45" fmla="*/ 39 h 80"/>
              <a:gd name="T46" fmla="*/ 100 w 108"/>
              <a:gd name="T47" fmla="*/ 44 h 80"/>
              <a:gd name="T48" fmla="*/ 102 w 108"/>
              <a:gd name="T49" fmla="*/ 46 h 80"/>
              <a:gd name="T50" fmla="*/ 102 w 108"/>
              <a:gd name="T51" fmla="*/ 54 h 80"/>
              <a:gd name="T52" fmla="*/ 108 w 108"/>
              <a:gd name="T53" fmla="*/ 67 h 80"/>
              <a:gd name="T54" fmla="*/ 108 w 108"/>
              <a:gd name="T55" fmla="*/ 72 h 80"/>
              <a:gd name="T56" fmla="*/ 105 w 108"/>
              <a:gd name="T57" fmla="*/ 78 h 80"/>
              <a:gd name="T58" fmla="*/ 100 w 108"/>
              <a:gd name="T59" fmla="*/ 80 h 80"/>
              <a:gd name="T60" fmla="*/ 97 w 108"/>
              <a:gd name="T61" fmla="*/ 80 h 80"/>
              <a:gd name="T62" fmla="*/ 87 w 108"/>
              <a:gd name="T63" fmla="*/ 75 h 80"/>
              <a:gd name="T64" fmla="*/ 76 w 108"/>
              <a:gd name="T65" fmla="*/ 67 h 80"/>
              <a:gd name="T66" fmla="*/ 70 w 108"/>
              <a:gd name="T67" fmla="*/ 67 h 80"/>
              <a:gd name="T68" fmla="*/ 68 w 108"/>
              <a:gd name="T69" fmla="*/ 69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 h="80">
                <a:moveTo>
                  <a:pt x="68" y="69"/>
                </a:moveTo>
                <a:lnTo>
                  <a:pt x="52" y="54"/>
                </a:lnTo>
                <a:lnTo>
                  <a:pt x="52" y="51"/>
                </a:lnTo>
                <a:lnTo>
                  <a:pt x="44" y="41"/>
                </a:lnTo>
                <a:lnTo>
                  <a:pt x="27" y="36"/>
                </a:lnTo>
                <a:lnTo>
                  <a:pt x="11" y="39"/>
                </a:lnTo>
                <a:lnTo>
                  <a:pt x="0" y="34"/>
                </a:lnTo>
                <a:lnTo>
                  <a:pt x="0" y="29"/>
                </a:lnTo>
                <a:lnTo>
                  <a:pt x="3" y="26"/>
                </a:lnTo>
                <a:lnTo>
                  <a:pt x="9" y="13"/>
                </a:lnTo>
                <a:lnTo>
                  <a:pt x="14" y="4"/>
                </a:lnTo>
                <a:lnTo>
                  <a:pt x="16" y="0"/>
                </a:lnTo>
                <a:lnTo>
                  <a:pt x="22" y="5"/>
                </a:lnTo>
                <a:lnTo>
                  <a:pt x="27" y="16"/>
                </a:lnTo>
                <a:lnTo>
                  <a:pt x="30" y="16"/>
                </a:lnTo>
                <a:lnTo>
                  <a:pt x="35" y="11"/>
                </a:lnTo>
                <a:lnTo>
                  <a:pt x="38" y="0"/>
                </a:lnTo>
                <a:lnTo>
                  <a:pt x="44" y="0"/>
                </a:lnTo>
                <a:lnTo>
                  <a:pt x="57" y="11"/>
                </a:lnTo>
                <a:lnTo>
                  <a:pt x="59" y="26"/>
                </a:lnTo>
                <a:lnTo>
                  <a:pt x="68" y="34"/>
                </a:lnTo>
                <a:lnTo>
                  <a:pt x="78" y="39"/>
                </a:lnTo>
                <a:lnTo>
                  <a:pt x="89" y="39"/>
                </a:lnTo>
                <a:lnTo>
                  <a:pt x="100" y="44"/>
                </a:lnTo>
                <a:lnTo>
                  <a:pt x="102" y="46"/>
                </a:lnTo>
                <a:lnTo>
                  <a:pt x="102" y="54"/>
                </a:lnTo>
                <a:lnTo>
                  <a:pt x="108" y="67"/>
                </a:lnTo>
                <a:lnTo>
                  <a:pt x="108" y="72"/>
                </a:lnTo>
                <a:lnTo>
                  <a:pt x="105" y="78"/>
                </a:lnTo>
                <a:lnTo>
                  <a:pt x="100" y="80"/>
                </a:lnTo>
                <a:lnTo>
                  <a:pt x="97" y="80"/>
                </a:lnTo>
                <a:lnTo>
                  <a:pt x="87" y="75"/>
                </a:lnTo>
                <a:lnTo>
                  <a:pt x="76" y="67"/>
                </a:lnTo>
                <a:lnTo>
                  <a:pt x="70" y="67"/>
                </a:lnTo>
                <a:lnTo>
                  <a:pt x="68" y="69"/>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65" name="Freeform 65">
            <a:extLst>
              <a:ext uri="{FF2B5EF4-FFF2-40B4-BE49-F238E27FC236}">
                <a16:creationId xmlns:a16="http://schemas.microsoft.com/office/drawing/2014/main" id="{9CC9DE60-9A39-4287-9F3F-8CAF090E19A6}"/>
              </a:ext>
            </a:extLst>
          </p:cNvPr>
          <p:cNvSpPr>
            <a:spLocks/>
          </p:cNvSpPr>
          <p:nvPr>
            <p:custDataLst>
              <p:tags r:id="rId58"/>
            </p:custDataLst>
          </p:nvPr>
        </p:nvSpPr>
        <p:spPr bwMode="auto">
          <a:xfrm rot="120000">
            <a:off x="9251844" y="4969548"/>
            <a:ext cx="47624" cy="71436"/>
          </a:xfrm>
          <a:custGeom>
            <a:avLst/>
            <a:gdLst>
              <a:gd name="T0" fmla="*/ 6 w 29"/>
              <a:gd name="T1" fmla="*/ 0 h 44"/>
              <a:gd name="T2" fmla="*/ 14 w 29"/>
              <a:gd name="T3" fmla="*/ 3 h 44"/>
              <a:gd name="T4" fmla="*/ 23 w 29"/>
              <a:gd name="T5" fmla="*/ 13 h 44"/>
              <a:gd name="T6" fmla="*/ 29 w 29"/>
              <a:gd name="T7" fmla="*/ 28 h 44"/>
              <a:gd name="T8" fmla="*/ 26 w 29"/>
              <a:gd name="T9" fmla="*/ 41 h 44"/>
              <a:gd name="T10" fmla="*/ 20 w 29"/>
              <a:gd name="T11" fmla="*/ 44 h 44"/>
              <a:gd name="T12" fmla="*/ 11 w 29"/>
              <a:gd name="T13" fmla="*/ 41 h 44"/>
              <a:gd name="T14" fmla="*/ 0 w 29"/>
              <a:gd name="T15" fmla="*/ 33 h 44"/>
              <a:gd name="T16" fmla="*/ 0 w 29"/>
              <a:gd name="T17" fmla="*/ 12 h 44"/>
              <a:gd name="T18" fmla="*/ 6 w 29"/>
              <a:gd name="T19"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44">
                <a:moveTo>
                  <a:pt x="6" y="0"/>
                </a:moveTo>
                <a:lnTo>
                  <a:pt x="14" y="3"/>
                </a:lnTo>
                <a:lnTo>
                  <a:pt x="23" y="13"/>
                </a:lnTo>
                <a:lnTo>
                  <a:pt x="29" y="28"/>
                </a:lnTo>
                <a:lnTo>
                  <a:pt x="26" y="41"/>
                </a:lnTo>
                <a:lnTo>
                  <a:pt x="20" y="44"/>
                </a:lnTo>
                <a:lnTo>
                  <a:pt x="11" y="41"/>
                </a:lnTo>
                <a:lnTo>
                  <a:pt x="0" y="33"/>
                </a:lnTo>
                <a:lnTo>
                  <a:pt x="0" y="12"/>
                </a:lnTo>
                <a:lnTo>
                  <a:pt x="6" y="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66" name="Freeform 66">
            <a:extLst>
              <a:ext uri="{FF2B5EF4-FFF2-40B4-BE49-F238E27FC236}">
                <a16:creationId xmlns:a16="http://schemas.microsoft.com/office/drawing/2014/main" id="{B6D537C6-1756-464E-A395-802D727DB995}"/>
              </a:ext>
            </a:extLst>
          </p:cNvPr>
          <p:cNvSpPr>
            <a:spLocks/>
          </p:cNvSpPr>
          <p:nvPr>
            <p:custDataLst>
              <p:tags r:id="rId59"/>
            </p:custDataLst>
          </p:nvPr>
        </p:nvSpPr>
        <p:spPr bwMode="auto">
          <a:xfrm rot="120000">
            <a:off x="9085164" y="5055272"/>
            <a:ext cx="26986" cy="30162"/>
          </a:xfrm>
          <a:custGeom>
            <a:avLst/>
            <a:gdLst>
              <a:gd name="T0" fmla="*/ 7 w 18"/>
              <a:gd name="T1" fmla="*/ 0 h 18"/>
              <a:gd name="T2" fmla="*/ 18 w 18"/>
              <a:gd name="T3" fmla="*/ 6 h 18"/>
              <a:gd name="T4" fmla="*/ 18 w 18"/>
              <a:gd name="T5" fmla="*/ 13 h 18"/>
              <a:gd name="T6" fmla="*/ 13 w 18"/>
              <a:gd name="T7" fmla="*/ 18 h 18"/>
              <a:gd name="T8" fmla="*/ 5 w 18"/>
              <a:gd name="T9" fmla="*/ 18 h 18"/>
              <a:gd name="T10" fmla="*/ 3 w 18"/>
              <a:gd name="T11" fmla="*/ 16 h 18"/>
              <a:gd name="T12" fmla="*/ 0 w 18"/>
              <a:gd name="T13" fmla="*/ 10 h 18"/>
              <a:gd name="T14" fmla="*/ 3 w 18"/>
              <a:gd name="T15" fmla="*/ 6 h 18"/>
              <a:gd name="T16" fmla="*/ 7 w 18"/>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8">
                <a:moveTo>
                  <a:pt x="7" y="0"/>
                </a:moveTo>
                <a:lnTo>
                  <a:pt x="18" y="6"/>
                </a:lnTo>
                <a:lnTo>
                  <a:pt x="18" y="13"/>
                </a:lnTo>
                <a:lnTo>
                  <a:pt x="13" y="18"/>
                </a:lnTo>
                <a:lnTo>
                  <a:pt x="5" y="18"/>
                </a:lnTo>
                <a:lnTo>
                  <a:pt x="3" y="16"/>
                </a:lnTo>
                <a:lnTo>
                  <a:pt x="0" y="10"/>
                </a:lnTo>
                <a:lnTo>
                  <a:pt x="3" y="6"/>
                </a:lnTo>
                <a:lnTo>
                  <a:pt x="7" y="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67" name="Freeform 67">
            <a:extLst>
              <a:ext uri="{FF2B5EF4-FFF2-40B4-BE49-F238E27FC236}">
                <a16:creationId xmlns:a16="http://schemas.microsoft.com/office/drawing/2014/main" id="{9B7CAF8D-BD98-4DFA-9CC0-A4A37F8A3838}"/>
              </a:ext>
            </a:extLst>
          </p:cNvPr>
          <p:cNvSpPr>
            <a:spLocks/>
          </p:cNvSpPr>
          <p:nvPr>
            <p:custDataLst>
              <p:tags r:id="rId60"/>
            </p:custDataLst>
          </p:nvPr>
        </p:nvSpPr>
        <p:spPr bwMode="auto">
          <a:xfrm rot="120000">
            <a:off x="9032775" y="5109244"/>
            <a:ext cx="28575" cy="20638"/>
          </a:xfrm>
          <a:custGeom>
            <a:avLst/>
            <a:gdLst>
              <a:gd name="T0" fmla="*/ 2 w 16"/>
              <a:gd name="T1" fmla="*/ 0 h 13"/>
              <a:gd name="T2" fmla="*/ 13 w 16"/>
              <a:gd name="T3" fmla="*/ 0 h 13"/>
              <a:gd name="T4" fmla="*/ 16 w 16"/>
              <a:gd name="T5" fmla="*/ 3 h 13"/>
              <a:gd name="T6" fmla="*/ 16 w 16"/>
              <a:gd name="T7" fmla="*/ 6 h 13"/>
              <a:gd name="T8" fmla="*/ 8 w 16"/>
              <a:gd name="T9" fmla="*/ 13 h 13"/>
              <a:gd name="T10" fmla="*/ 2 w 16"/>
              <a:gd name="T11" fmla="*/ 13 h 13"/>
              <a:gd name="T12" fmla="*/ 0 w 16"/>
              <a:gd name="T13" fmla="*/ 11 h 13"/>
              <a:gd name="T14" fmla="*/ 0 w 16"/>
              <a:gd name="T15" fmla="*/ 6 h 13"/>
              <a:gd name="T16" fmla="*/ 2 w 16"/>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3">
                <a:moveTo>
                  <a:pt x="2" y="0"/>
                </a:moveTo>
                <a:lnTo>
                  <a:pt x="13" y="0"/>
                </a:lnTo>
                <a:lnTo>
                  <a:pt x="16" y="3"/>
                </a:lnTo>
                <a:lnTo>
                  <a:pt x="16" y="6"/>
                </a:lnTo>
                <a:lnTo>
                  <a:pt x="8" y="13"/>
                </a:lnTo>
                <a:lnTo>
                  <a:pt x="2" y="13"/>
                </a:lnTo>
                <a:lnTo>
                  <a:pt x="0" y="11"/>
                </a:lnTo>
                <a:lnTo>
                  <a:pt x="0" y="6"/>
                </a:lnTo>
                <a:lnTo>
                  <a:pt x="2" y="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68" name="Freeform 68">
            <a:extLst>
              <a:ext uri="{FF2B5EF4-FFF2-40B4-BE49-F238E27FC236}">
                <a16:creationId xmlns:a16="http://schemas.microsoft.com/office/drawing/2014/main" id="{3DADF213-4E2F-4F35-93EC-1839BD6A933C}"/>
              </a:ext>
            </a:extLst>
          </p:cNvPr>
          <p:cNvSpPr>
            <a:spLocks/>
          </p:cNvSpPr>
          <p:nvPr>
            <p:custDataLst>
              <p:tags r:id="rId61"/>
            </p:custDataLst>
          </p:nvPr>
        </p:nvSpPr>
        <p:spPr bwMode="auto">
          <a:xfrm rot="120000">
            <a:off x="8070780" y="5160045"/>
            <a:ext cx="87310" cy="60323"/>
          </a:xfrm>
          <a:custGeom>
            <a:avLst/>
            <a:gdLst>
              <a:gd name="T0" fmla="*/ 3 w 54"/>
              <a:gd name="T1" fmla="*/ 0 h 38"/>
              <a:gd name="T2" fmla="*/ 14 w 54"/>
              <a:gd name="T3" fmla="*/ 0 h 38"/>
              <a:gd name="T4" fmla="*/ 27 w 54"/>
              <a:gd name="T5" fmla="*/ 14 h 38"/>
              <a:gd name="T6" fmla="*/ 43 w 54"/>
              <a:gd name="T7" fmla="*/ 20 h 38"/>
              <a:gd name="T8" fmla="*/ 46 w 54"/>
              <a:gd name="T9" fmla="*/ 25 h 38"/>
              <a:gd name="T10" fmla="*/ 54 w 54"/>
              <a:gd name="T11" fmla="*/ 36 h 38"/>
              <a:gd name="T12" fmla="*/ 54 w 54"/>
              <a:gd name="T13" fmla="*/ 38 h 38"/>
              <a:gd name="T14" fmla="*/ 46 w 54"/>
              <a:gd name="T15" fmla="*/ 38 h 38"/>
              <a:gd name="T16" fmla="*/ 32 w 54"/>
              <a:gd name="T17" fmla="*/ 33 h 38"/>
              <a:gd name="T18" fmla="*/ 22 w 54"/>
              <a:gd name="T19" fmla="*/ 23 h 38"/>
              <a:gd name="T20" fmla="*/ 11 w 54"/>
              <a:gd name="T21" fmla="*/ 18 h 38"/>
              <a:gd name="T22" fmla="*/ 0 w 54"/>
              <a:gd name="T23" fmla="*/ 8 h 38"/>
              <a:gd name="T24" fmla="*/ 0 w 54"/>
              <a:gd name="T25" fmla="*/ 6 h 38"/>
              <a:gd name="T26" fmla="*/ 3 w 54"/>
              <a:gd name="T2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 h="38">
                <a:moveTo>
                  <a:pt x="3" y="0"/>
                </a:moveTo>
                <a:lnTo>
                  <a:pt x="14" y="0"/>
                </a:lnTo>
                <a:lnTo>
                  <a:pt x="27" y="14"/>
                </a:lnTo>
                <a:lnTo>
                  <a:pt x="43" y="20"/>
                </a:lnTo>
                <a:lnTo>
                  <a:pt x="46" y="25"/>
                </a:lnTo>
                <a:lnTo>
                  <a:pt x="54" y="36"/>
                </a:lnTo>
                <a:lnTo>
                  <a:pt x="54" y="38"/>
                </a:lnTo>
                <a:lnTo>
                  <a:pt x="46" y="38"/>
                </a:lnTo>
                <a:lnTo>
                  <a:pt x="32" y="33"/>
                </a:lnTo>
                <a:lnTo>
                  <a:pt x="22" y="23"/>
                </a:lnTo>
                <a:lnTo>
                  <a:pt x="11" y="18"/>
                </a:lnTo>
                <a:lnTo>
                  <a:pt x="0" y="8"/>
                </a:lnTo>
                <a:lnTo>
                  <a:pt x="0" y="6"/>
                </a:lnTo>
                <a:lnTo>
                  <a:pt x="3"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69" name="Freeform 69">
            <a:extLst>
              <a:ext uri="{FF2B5EF4-FFF2-40B4-BE49-F238E27FC236}">
                <a16:creationId xmlns:a16="http://schemas.microsoft.com/office/drawing/2014/main" id="{BAE1CF6B-9D87-499F-8763-8102931E3937}"/>
              </a:ext>
            </a:extLst>
          </p:cNvPr>
          <p:cNvSpPr>
            <a:spLocks/>
          </p:cNvSpPr>
          <p:nvPr>
            <p:custDataLst>
              <p:tags r:id="rId62"/>
            </p:custDataLst>
          </p:nvPr>
        </p:nvSpPr>
        <p:spPr bwMode="auto">
          <a:xfrm rot="120000">
            <a:off x="8212062" y="5209255"/>
            <a:ext cx="25399" cy="22224"/>
          </a:xfrm>
          <a:custGeom>
            <a:avLst/>
            <a:gdLst>
              <a:gd name="T0" fmla="*/ 0 w 15"/>
              <a:gd name="T1" fmla="*/ 0 h 14"/>
              <a:gd name="T2" fmla="*/ 12 w 15"/>
              <a:gd name="T3" fmla="*/ 0 h 14"/>
              <a:gd name="T4" fmla="*/ 15 w 15"/>
              <a:gd name="T5" fmla="*/ 6 h 14"/>
              <a:gd name="T6" fmla="*/ 11 w 15"/>
              <a:gd name="T7" fmla="*/ 14 h 14"/>
              <a:gd name="T8" fmla="*/ 3 w 15"/>
              <a:gd name="T9" fmla="*/ 14 h 14"/>
              <a:gd name="T10" fmla="*/ 0 w 15"/>
              <a:gd name="T11" fmla="*/ 8 h 14"/>
              <a:gd name="T12" fmla="*/ 0 w 1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5" h="14">
                <a:moveTo>
                  <a:pt x="0" y="0"/>
                </a:moveTo>
                <a:lnTo>
                  <a:pt x="12" y="0"/>
                </a:lnTo>
                <a:lnTo>
                  <a:pt x="15" y="6"/>
                </a:lnTo>
                <a:lnTo>
                  <a:pt x="11" y="14"/>
                </a:lnTo>
                <a:lnTo>
                  <a:pt x="3" y="14"/>
                </a:lnTo>
                <a:lnTo>
                  <a:pt x="0" y="8"/>
                </a:lnTo>
                <a:lnTo>
                  <a:pt x="0"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70" name="Freeform 70">
            <a:extLst>
              <a:ext uri="{FF2B5EF4-FFF2-40B4-BE49-F238E27FC236}">
                <a16:creationId xmlns:a16="http://schemas.microsoft.com/office/drawing/2014/main" id="{7FE7922B-C5AF-4FDA-9FF4-696EB0E97184}"/>
              </a:ext>
            </a:extLst>
          </p:cNvPr>
          <p:cNvSpPr>
            <a:spLocks/>
          </p:cNvSpPr>
          <p:nvPr>
            <p:custDataLst>
              <p:tags r:id="rId63"/>
            </p:custDataLst>
          </p:nvPr>
        </p:nvSpPr>
        <p:spPr bwMode="auto">
          <a:xfrm rot="120000">
            <a:off x="8207299" y="5287040"/>
            <a:ext cx="103185" cy="84135"/>
          </a:xfrm>
          <a:custGeom>
            <a:avLst/>
            <a:gdLst>
              <a:gd name="T0" fmla="*/ 8 w 64"/>
              <a:gd name="T1" fmla="*/ 0 h 52"/>
              <a:gd name="T2" fmla="*/ 30 w 64"/>
              <a:gd name="T3" fmla="*/ 2 h 52"/>
              <a:gd name="T4" fmla="*/ 32 w 64"/>
              <a:gd name="T5" fmla="*/ 4 h 52"/>
              <a:gd name="T6" fmla="*/ 42 w 64"/>
              <a:gd name="T7" fmla="*/ 17 h 52"/>
              <a:gd name="T8" fmla="*/ 59 w 64"/>
              <a:gd name="T9" fmla="*/ 17 h 52"/>
              <a:gd name="T10" fmla="*/ 61 w 64"/>
              <a:gd name="T11" fmla="*/ 19 h 52"/>
              <a:gd name="T12" fmla="*/ 64 w 64"/>
              <a:gd name="T13" fmla="*/ 30 h 52"/>
              <a:gd name="T14" fmla="*/ 64 w 64"/>
              <a:gd name="T15" fmla="*/ 40 h 52"/>
              <a:gd name="T16" fmla="*/ 61 w 64"/>
              <a:gd name="T17" fmla="*/ 45 h 52"/>
              <a:gd name="T18" fmla="*/ 55 w 64"/>
              <a:gd name="T19" fmla="*/ 51 h 52"/>
              <a:gd name="T20" fmla="*/ 50 w 64"/>
              <a:gd name="T21" fmla="*/ 52 h 52"/>
              <a:gd name="T22" fmla="*/ 45 w 64"/>
              <a:gd name="T23" fmla="*/ 52 h 52"/>
              <a:gd name="T24" fmla="*/ 32 w 64"/>
              <a:gd name="T25" fmla="*/ 42 h 52"/>
              <a:gd name="T26" fmla="*/ 22 w 64"/>
              <a:gd name="T27" fmla="*/ 33 h 52"/>
              <a:gd name="T28" fmla="*/ 8 w 64"/>
              <a:gd name="T29" fmla="*/ 22 h 52"/>
              <a:gd name="T30" fmla="*/ 3 w 64"/>
              <a:gd name="T31" fmla="*/ 10 h 52"/>
              <a:gd name="T32" fmla="*/ 0 w 64"/>
              <a:gd name="T33" fmla="*/ 2 h 52"/>
              <a:gd name="T34" fmla="*/ 8 w 64"/>
              <a:gd name="T3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52">
                <a:moveTo>
                  <a:pt x="8" y="0"/>
                </a:moveTo>
                <a:lnTo>
                  <a:pt x="30" y="2"/>
                </a:lnTo>
                <a:lnTo>
                  <a:pt x="32" y="4"/>
                </a:lnTo>
                <a:lnTo>
                  <a:pt x="42" y="17"/>
                </a:lnTo>
                <a:lnTo>
                  <a:pt x="59" y="17"/>
                </a:lnTo>
                <a:lnTo>
                  <a:pt x="61" y="19"/>
                </a:lnTo>
                <a:lnTo>
                  <a:pt x="64" y="30"/>
                </a:lnTo>
                <a:lnTo>
                  <a:pt x="64" y="40"/>
                </a:lnTo>
                <a:lnTo>
                  <a:pt x="61" y="45"/>
                </a:lnTo>
                <a:lnTo>
                  <a:pt x="55" y="51"/>
                </a:lnTo>
                <a:lnTo>
                  <a:pt x="50" y="52"/>
                </a:lnTo>
                <a:lnTo>
                  <a:pt x="45" y="52"/>
                </a:lnTo>
                <a:lnTo>
                  <a:pt x="32" y="42"/>
                </a:lnTo>
                <a:lnTo>
                  <a:pt x="22" y="33"/>
                </a:lnTo>
                <a:lnTo>
                  <a:pt x="8" y="22"/>
                </a:lnTo>
                <a:lnTo>
                  <a:pt x="3" y="10"/>
                </a:lnTo>
                <a:lnTo>
                  <a:pt x="0" y="2"/>
                </a:lnTo>
                <a:lnTo>
                  <a:pt x="8"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71" name="Freeform 71">
            <a:extLst>
              <a:ext uri="{FF2B5EF4-FFF2-40B4-BE49-F238E27FC236}">
                <a16:creationId xmlns:a16="http://schemas.microsoft.com/office/drawing/2014/main" id="{3764F357-E6C7-4738-800E-1182D6B5F97D}"/>
              </a:ext>
            </a:extLst>
          </p:cNvPr>
          <p:cNvSpPr>
            <a:spLocks/>
          </p:cNvSpPr>
          <p:nvPr>
            <p:custDataLst>
              <p:tags r:id="rId64"/>
            </p:custDataLst>
          </p:nvPr>
        </p:nvSpPr>
        <p:spPr bwMode="auto">
          <a:xfrm rot="120000">
            <a:off x="8910542" y="5401335"/>
            <a:ext cx="30161" cy="26987"/>
          </a:xfrm>
          <a:custGeom>
            <a:avLst/>
            <a:gdLst>
              <a:gd name="T0" fmla="*/ 19 w 19"/>
              <a:gd name="T1" fmla="*/ 8 h 17"/>
              <a:gd name="T2" fmla="*/ 10 w 19"/>
              <a:gd name="T3" fmla="*/ 17 h 17"/>
              <a:gd name="T4" fmla="*/ 2 w 19"/>
              <a:gd name="T5" fmla="*/ 15 h 17"/>
              <a:gd name="T6" fmla="*/ 0 w 19"/>
              <a:gd name="T7" fmla="*/ 10 h 17"/>
              <a:gd name="T8" fmla="*/ 2 w 19"/>
              <a:gd name="T9" fmla="*/ 2 h 17"/>
              <a:gd name="T10" fmla="*/ 8 w 19"/>
              <a:gd name="T11" fmla="*/ 0 h 17"/>
              <a:gd name="T12" fmla="*/ 19 w 19"/>
              <a:gd name="T13" fmla="*/ 7 h 17"/>
              <a:gd name="T14" fmla="*/ 19 w 19"/>
              <a:gd name="T15" fmla="*/ 8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7">
                <a:moveTo>
                  <a:pt x="19" y="8"/>
                </a:moveTo>
                <a:lnTo>
                  <a:pt x="10" y="17"/>
                </a:lnTo>
                <a:lnTo>
                  <a:pt x="2" y="15"/>
                </a:lnTo>
                <a:lnTo>
                  <a:pt x="0" y="10"/>
                </a:lnTo>
                <a:lnTo>
                  <a:pt x="2" y="2"/>
                </a:lnTo>
                <a:lnTo>
                  <a:pt x="8" y="0"/>
                </a:lnTo>
                <a:lnTo>
                  <a:pt x="19" y="7"/>
                </a:lnTo>
                <a:lnTo>
                  <a:pt x="19" y="8"/>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72" name="Freeform 72">
            <a:extLst>
              <a:ext uri="{FF2B5EF4-FFF2-40B4-BE49-F238E27FC236}">
                <a16:creationId xmlns:a16="http://schemas.microsoft.com/office/drawing/2014/main" id="{0C8D69DD-AB52-484F-B997-694644B00D54}"/>
              </a:ext>
            </a:extLst>
          </p:cNvPr>
          <p:cNvSpPr>
            <a:spLocks/>
          </p:cNvSpPr>
          <p:nvPr>
            <p:custDataLst>
              <p:tags r:id="rId65"/>
            </p:custDataLst>
          </p:nvPr>
        </p:nvSpPr>
        <p:spPr bwMode="auto">
          <a:xfrm rot="120000">
            <a:off x="8351758" y="5375936"/>
            <a:ext cx="38099" cy="33337"/>
          </a:xfrm>
          <a:custGeom>
            <a:avLst/>
            <a:gdLst>
              <a:gd name="T0" fmla="*/ 8 w 24"/>
              <a:gd name="T1" fmla="*/ 0 h 20"/>
              <a:gd name="T2" fmla="*/ 21 w 24"/>
              <a:gd name="T3" fmla="*/ 0 h 20"/>
              <a:gd name="T4" fmla="*/ 24 w 24"/>
              <a:gd name="T5" fmla="*/ 3 h 20"/>
              <a:gd name="T6" fmla="*/ 24 w 24"/>
              <a:gd name="T7" fmla="*/ 8 h 20"/>
              <a:gd name="T8" fmla="*/ 21 w 24"/>
              <a:gd name="T9" fmla="*/ 15 h 20"/>
              <a:gd name="T10" fmla="*/ 16 w 24"/>
              <a:gd name="T11" fmla="*/ 18 h 20"/>
              <a:gd name="T12" fmla="*/ 8 w 24"/>
              <a:gd name="T13" fmla="*/ 20 h 20"/>
              <a:gd name="T14" fmla="*/ 6 w 24"/>
              <a:gd name="T15" fmla="*/ 18 h 20"/>
              <a:gd name="T16" fmla="*/ 0 w 24"/>
              <a:gd name="T17" fmla="*/ 10 h 20"/>
              <a:gd name="T18" fmla="*/ 3 w 24"/>
              <a:gd name="T19" fmla="*/ 5 h 20"/>
              <a:gd name="T20" fmla="*/ 8 w 24"/>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0">
                <a:moveTo>
                  <a:pt x="8" y="0"/>
                </a:moveTo>
                <a:lnTo>
                  <a:pt x="21" y="0"/>
                </a:lnTo>
                <a:lnTo>
                  <a:pt x="24" y="3"/>
                </a:lnTo>
                <a:lnTo>
                  <a:pt x="24" y="8"/>
                </a:lnTo>
                <a:lnTo>
                  <a:pt x="21" y="15"/>
                </a:lnTo>
                <a:lnTo>
                  <a:pt x="16" y="18"/>
                </a:lnTo>
                <a:lnTo>
                  <a:pt x="8" y="20"/>
                </a:lnTo>
                <a:lnTo>
                  <a:pt x="6" y="18"/>
                </a:lnTo>
                <a:lnTo>
                  <a:pt x="0" y="10"/>
                </a:lnTo>
                <a:lnTo>
                  <a:pt x="3" y="5"/>
                </a:lnTo>
                <a:lnTo>
                  <a:pt x="8"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73" name="Freeform 73">
            <a:extLst>
              <a:ext uri="{FF2B5EF4-FFF2-40B4-BE49-F238E27FC236}">
                <a16:creationId xmlns:a16="http://schemas.microsoft.com/office/drawing/2014/main" id="{67BC4907-9D3A-449D-97CC-B74FACF4DA30}"/>
              </a:ext>
            </a:extLst>
          </p:cNvPr>
          <p:cNvSpPr>
            <a:spLocks/>
          </p:cNvSpPr>
          <p:nvPr>
            <p:custDataLst>
              <p:tags r:id="rId66"/>
            </p:custDataLst>
          </p:nvPr>
        </p:nvSpPr>
        <p:spPr bwMode="auto">
          <a:xfrm rot="120000">
            <a:off x="8329533" y="5402924"/>
            <a:ext cx="25399" cy="63498"/>
          </a:xfrm>
          <a:custGeom>
            <a:avLst/>
            <a:gdLst>
              <a:gd name="T0" fmla="*/ 3 w 15"/>
              <a:gd name="T1" fmla="*/ 0 h 39"/>
              <a:gd name="T2" fmla="*/ 13 w 15"/>
              <a:gd name="T3" fmla="*/ 3 h 39"/>
              <a:gd name="T4" fmla="*/ 15 w 15"/>
              <a:gd name="T5" fmla="*/ 14 h 39"/>
              <a:gd name="T6" fmla="*/ 15 w 15"/>
              <a:gd name="T7" fmla="*/ 31 h 39"/>
              <a:gd name="T8" fmla="*/ 13 w 15"/>
              <a:gd name="T9" fmla="*/ 39 h 39"/>
              <a:gd name="T10" fmla="*/ 10 w 15"/>
              <a:gd name="T11" fmla="*/ 39 h 39"/>
              <a:gd name="T12" fmla="*/ 3 w 15"/>
              <a:gd name="T13" fmla="*/ 29 h 39"/>
              <a:gd name="T14" fmla="*/ 3 w 15"/>
              <a:gd name="T15" fmla="*/ 24 h 39"/>
              <a:gd name="T16" fmla="*/ 5 w 15"/>
              <a:gd name="T17" fmla="*/ 16 h 39"/>
              <a:gd name="T18" fmla="*/ 0 w 15"/>
              <a:gd name="T19" fmla="*/ 5 h 39"/>
              <a:gd name="T20" fmla="*/ 3 w 15"/>
              <a:gd name="T2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39">
                <a:moveTo>
                  <a:pt x="3" y="0"/>
                </a:moveTo>
                <a:lnTo>
                  <a:pt x="13" y="3"/>
                </a:lnTo>
                <a:lnTo>
                  <a:pt x="15" y="14"/>
                </a:lnTo>
                <a:lnTo>
                  <a:pt x="15" y="31"/>
                </a:lnTo>
                <a:lnTo>
                  <a:pt x="13" y="39"/>
                </a:lnTo>
                <a:lnTo>
                  <a:pt x="10" y="39"/>
                </a:lnTo>
                <a:lnTo>
                  <a:pt x="3" y="29"/>
                </a:lnTo>
                <a:lnTo>
                  <a:pt x="3" y="24"/>
                </a:lnTo>
                <a:lnTo>
                  <a:pt x="5" y="16"/>
                </a:lnTo>
                <a:lnTo>
                  <a:pt x="0" y="5"/>
                </a:lnTo>
                <a:lnTo>
                  <a:pt x="3"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74" name="Freeform 74">
            <a:extLst>
              <a:ext uri="{FF2B5EF4-FFF2-40B4-BE49-F238E27FC236}">
                <a16:creationId xmlns:a16="http://schemas.microsoft.com/office/drawing/2014/main" id="{9566C175-354D-4961-A137-04E3BA306E25}"/>
              </a:ext>
            </a:extLst>
          </p:cNvPr>
          <p:cNvSpPr>
            <a:spLocks/>
          </p:cNvSpPr>
          <p:nvPr>
            <p:custDataLst>
              <p:tags r:id="rId67"/>
            </p:custDataLst>
          </p:nvPr>
        </p:nvSpPr>
        <p:spPr bwMode="auto">
          <a:xfrm rot="120000">
            <a:off x="8369219" y="5472771"/>
            <a:ext cx="76198" cy="63498"/>
          </a:xfrm>
          <a:custGeom>
            <a:avLst/>
            <a:gdLst>
              <a:gd name="T0" fmla="*/ 12 w 47"/>
              <a:gd name="T1" fmla="*/ 0 h 40"/>
              <a:gd name="T2" fmla="*/ 33 w 47"/>
              <a:gd name="T3" fmla="*/ 5 h 40"/>
              <a:gd name="T4" fmla="*/ 36 w 47"/>
              <a:gd name="T5" fmla="*/ 13 h 40"/>
              <a:gd name="T6" fmla="*/ 45 w 47"/>
              <a:gd name="T7" fmla="*/ 23 h 40"/>
              <a:gd name="T8" fmla="*/ 47 w 47"/>
              <a:gd name="T9" fmla="*/ 38 h 40"/>
              <a:gd name="T10" fmla="*/ 42 w 47"/>
              <a:gd name="T11" fmla="*/ 40 h 40"/>
              <a:gd name="T12" fmla="*/ 38 w 47"/>
              <a:gd name="T13" fmla="*/ 40 h 40"/>
              <a:gd name="T14" fmla="*/ 25 w 47"/>
              <a:gd name="T15" fmla="*/ 35 h 40"/>
              <a:gd name="T16" fmla="*/ 18 w 47"/>
              <a:gd name="T17" fmla="*/ 26 h 40"/>
              <a:gd name="T18" fmla="*/ 7 w 47"/>
              <a:gd name="T19" fmla="*/ 18 h 40"/>
              <a:gd name="T20" fmla="*/ 0 w 47"/>
              <a:gd name="T21" fmla="*/ 10 h 40"/>
              <a:gd name="T22" fmla="*/ 4 w 47"/>
              <a:gd name="T23" fmla="*/ 5 h 40"/>
              <a:gd name="T24" fmla="*/ 12 w 47"/>
              <a:gd name="T25"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0">
                <a:moveTo>
                  <a:pt x="12" y="0"/>
                </a:moveTo>
                <a:lnTo>
                  <a:pt x="33" y="5"/>
                </a:lnTo>
                <a:lnTo>
                  <a:pt x="36" y="13"/>
                </a:lnTo>
                <a:lnTo>
                  <a:pt x="45" y="23"/>
                </a:lnTo>
                <a:lnTo>
                  <a:pt x="47" y="38"/>
                </a:lnTo>
                <a:lnTo>
                  <a:pt x="42" y="40"/>
                </a:lnTo>
                <a:lnTo>
                  <a:pt x="38" y="40"/>
                </a:lnTo>
                <a:lnTo>
                  <a:pt x="25" y="35"/>
                </a:lnTo>
                <a:lnTo>
                  <a:pt x="18" y="26"/>
                </a:lnTo>
                <a:lnTo>
                  <a:pt x="7" y="18"/>
                </a:lnTo>
                <a:lnTo>
                  <a:pt x="0" y="10"/>
                </a:lnTo>
                <a:lnTo>
                  <a:pt x="4" y="5"/>
                </a:lnTo>
                <a:lnTo>
                  <a:pt x="12"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75" name="Freeform 75">
            <a:extLst>
              <a:ext uri="{FF2B5EF4-FFF2-40B4-BE49-F238E27FC236}">
                <a16:creationId xmlns:a16="http://schemas.microsoft.com/office/drawing/2014/main" id="{4CE62997-ACD6-4721-97D6-D7E7174C6CAD}"/>
              </a:ext>
            </a:extLst>
          </p:cNvPr>
          <p:cNvSpPr>
            <a:spLocks/>
          </p:cNvSpPr>
          <p:nvPr>
            <p:custDataLst>
              <p:tags r:id="rId68"/>
            </p:custDataLst>
          </p:nvPr>
        </p:nvSpPr>
        <p:spPr bwMode="auto">
          <a:xfrm rot="120000">
            <a:off x="9232796" y="5545796"/>
            <a:ext cx="80961" cy="79372"/>
          </a:xfrm>
          <a:custGeom>
            <a:avLst/>
            <a:gdLst>
              <a:gd name="T0" fmla="*/ 5 w 50"/>
              <a:gd name="T1" fmla="*/ 0 h 48"/>
              <a:gd name="T2" fmla="*/ 31 w 50"/>
              <a:gd name="T3" fmla="*/ 2 h 48"/>
              <a:gd name="T4" fmla="*/ 41 w 50"/>
              <a:gd name="T5" fmla="*/ 11 h 48"/>
              <a:gd name="T6" fmla="*/ 50 w 50"/>
              <a:gd name="T7" fmla="*/ 19 h 48"/>
              <a:gd name="T8" fmla="*/ 50 w 50"/>
              <a:gd name="T9" fmla="*/ 26 h 48"/>
              <a:gd name="T10" fmla="*/ 33 w 50"/>
              <a:gd name="T11" fmla="*/ 45 h 48"/>
              <a:gd name="T12" fmla="*/ 28 w 50"/>
              <a:gd name="T13" fmla="*/ 45 h 48"/>
              <a:gd name="T14" fmla="*/ 16 w 50"/>
              <a:gd name="T15" fmla="*/ 42 h 48"/>
              <a:gd name="T16" fmla="*/ 4 w 50"/>
              <a:gd name="T17" fmla="*/ 48 h 48"/>
              <a:gd name="T18" fmla="*/ 0 w 50"/>
              <a:gd name="T19" fmla="*/ 45 h 48"/>
              <a:gd name="T20" fmla="*/ 0 w 50"/>
              <a:gd name="T21" fmla="*/ 2 h 48"/>
              <a:gd name="T22" fmla="*/ 5 w 50"/>
              <a:gd name="T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48">
                <a:moveTo>
                  <a:pt x="5" y="0"/>
                </a:moveTo>
                <a:lnTo>
                  <a:pt x="31" y="2"/>
                </a:lnTo>
                <a:lnTo>
                  <a:pt x="41" y="11"/>
                </a:lnTo>
                <a:lnTo>
                  <a:pt x="50" y="19"/>
                </a:lnTo>
                <a:lnTo>
                  <a:pt x="50" y="26"/>
                </a:lnTo>
                <a:lnTo>
                  <a:pt x="33" y="45"/>
                </a:lnTo>
                <a:lnTo>
                  <a:pt x="28" y="45"/>
                </a:lnTo>
                <a:lnTo>
                  <a:pt x="16" y="42"/>
                </a:lnTo>
                <a:lnTo>
                  <a:pt x="4" y="48"/>
                </a:lnTo>
                <a:lnTo>
                  <a:pt x="0" y="45"/>
                </a:lnTo>
                <a:lnTo>
                  <a:pt x="0" y="2"/>
                </a:lnTo>
                <a:lnTo>
                  <a:pt x="5" y="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76" name="Freeform 76">
            <a:extLst>
              <a:ext uri="{FF2B5EF4-FFF2-40B4-BE49-F238E27FC236}">
                <a16:creationId xmlns:a16="http://schemas.microsoft.com/office/drawing/2014/main" id="{E7D303CF-1559-4A40-9D11-FD826AE8701C}"/>
              </a:ext>
            </a:extLst>
          </p:cNvPr>
          <p:cNvSpPr>
            <a:spLocks/>
          </p:cNvSpPr>
          <p:nvPr>
            <p:custDataLst>
              <p:tags r:id="rId69"/>
            </p:custDataLst>
          </p:nvPr>
        </p:nvSpPr>
        <p:spPr bwMode="auto">
          <a:xfrm rot="120000">
            <a:off x="8450180" y="5571196"/>
            <a:ext cx="57148" cy="33336"/>
          </a:xfrm>
          <a:custGeom>
            <a:avLst/>
            <a:gdLst>
              <a:gd name="T0" fmla="*/ 3 w 35"/>
              <a:gd name="T1" fmla="*/ 0 h 21"/>
              <a:gd name="T2" fmla="*/ 22 w 35"/>
              <a:gd name="T3" fmla="*/ 0 h 21"/>
              <a:gd name="T4" fmla="*/ 33 w 35"/>
              <a:gd name="T5" fmla="*/ 8 h 21"/>
              <a:gd name="T6" fmla="*/ 35 w 35"/>
              <a:gd name="T7" fmla="*/ 18 h 21"/>
              <a:gd name="T8" fmla="*/ 33 w 35"/>
              <a:gd name="T9" fmla="*/ 21 h 21"/>
              <a:gd name="T10" fmla="*/ 24 w 35"/>
              <a:gd name="T11" fmla="*/ 21 h 21"/>
              <a:gd name="T12" fmla="*/ 11 w 35"/>
              <a:gd name="T13" fmla="*/ 18 h 21"/>
              <a:gd name="T14" fmla="*/ 3 w 35"/>
              <a:gd name="T15" fmla="*/ 13 h 21"/>
              <a:gd name="T16" fmla="*/ 0 w 35"/>
              <a:gd name="T17" fmla="*/ 2 h 21"/>
              <a:gd name="T18" fmla="*/ 3 w 35"/>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1">
                <a:moveTo>
                  <a:pt x="3" y="0"/>
                </a:moveTo>
                <a:lnTo>
                  <a:pt x="22" y="0"/>
                </a:lnTo>
                <a:lnTo>
                  <a:pt x="33" y="8"/>
                </a:lnTo>
                <a:lnTo>
                  <a:pt x="35" y="18"/>
                </a:lnTo>
                <a:lnTo>
                  <a:pt x="33" y="21"/>
                </a:lnTo>
                <a:lnTo>
                  <a:pt x="24" y="21"/>
                </a:lnTo>
                <a:lnTo>
                  <a:pt x="11" y="18"/>
                </a:lnTo>
                <a:lnTo>
                  <a:pt x="3" y="13"/>
                </a:lnTo>
                <a:lnTo>
                  <a:pt x="0" y="2"/>
                </a:lnTo>
                <a:lnTo>
                  <a:pt x="3"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77" name="Freeform 77">
            <a:extLst>
              <a:ext uri="{FF2B5EF4-FFF2-40B4-BE49-F238E27FC236}">
                <a16:creationId xmlns:a16="http://schemas.microsoft.com/office/drawing/2014/main" id="{D7A949BB-D725-4CB4-B191-BA368BD72CCD}"/>
              </a:ext>
            </a:extLst>
          </p:cNvPr>
          <p:cNvSpPr>
            <a:spLocks/>
          </p:cNvSpPr>
          <p:nvPr>
            <p:custDataLst>
              <p:tags r:id="rId70"/>
            </p:custDataLst>
          </p:nvPr>
        </p:nvSpPr>
        <p:spPr bwMode="auto">
          <a:xfrm rot="120000">
            <a:off x="8481928" y="5612468"/>
            <a:ext cx="23812" cy="28575"/>
          </a:xfrm>
          <a:custGeom>
            <a:avLst/>
            <a:gdLst>
              <a:gd name="T0" fmla="*/ 8 w 14"/>
              <a:gd name="T1" fmla="*/ 0 h 17"/>
              <a:gd name="T2" fmla="*/ 14 w 14"/>
              <a:gd name="T3" fmla="*/ 0 h 17"/>
              <a:gd name="T4" fmla="*/ 14 w 14"/>
              <a:gd name="T5" fmla="*/ 13 h 17"/>
              <a:gd name="T6" fmla="*/ 11 w 14"/>
              <a:gd name="T7" fmla="*/ 17 h 17"/>
              <a:gd name="T8" fmla="*/ 1 w 14"/>
              <a:gd name="T9" fmla="*/ 17 h 17"/>
              <a:gd name="T10" fmla="*/ 0 w 14"/>
              <a:gd name="T11" fmla="*/ 13 h 17"/>
              <a:gd name="T12" fmla="*/ 0 w 14"/>
              <a:gd name="T13" fmla="*/ 8 h 17"/>
              <a:gd name="T14" fmla="*/ 8 w 14"/>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8" y="0"/>
                </a:moveTo>
                <a:lnTo>
                  <a:pt x="14" y="0"/>
                </a:lnTo>
                <a:lnTo>
                  <a:pt x="14" y="13"/>
                </a:lnTo>
                <a:lnTo>
                  <a:pt x="11" y="17"/>
                </a:lnTo>
                <a:lnTo>
                  <a:pt x="1" y="17"/>
                </a:lnTo>
                <a:lnTo>
                  <a:pt x="0" y="13"/>
                </a:lnTo>
                <a:lnTo>
                  <a:pt x="0" y="8"/>
                </a:lnTo>
                <a:lnTo>
                  <a:pt x="8" y="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78" name="Freeform 78">
            <a:extLst>
              <a:ext uri="{FF2B5EF4-FFF2-40B4-BE49-F238E27FC236}">
                <a16:creationId xmlns:a16="http://schemas.microsoft.com/office/drawing/2014/main" id="{998371C1-9899-4F1B-B872-5D0CC66E2215}"/>
              </a:ext>
            </a:extLst>
          </p:cNvPr>
          <p:cNvSpPr>
            <a:spLocks/>
          </p:cNvSpPr>
          <p:nvPr>
            <p:custDataLst>
              <p:tags r:id="rId71"/>
            </p:custDataLst>
          </p:nvPr>
        </p:nvSpPr>
        <p:spPr bwMode="auto">
          <a:xfrm rot="120000">
            <a:off x="8520028" y="5620405"/>
            <a:ext cx="30161" cy="47624"/>
          </a:xfrm>
          <a:custGeom>
            <a:avLst/>
            <a:gdLst>
              <a:gd name="T0" fmla="*/ 3 w 19"/>
              <a:gd name="T1" fmla="*/ 0 h 29"/>
              <a:gd name="T2" fmla="*/ 5 w 19"/>
              <a:gd name="T3" fmla="*/ 0 h 29"/>
              <a:gd name="T4" fmla="*/ 19 w 19"/>
              <a:gd name="T5" fmla="*/ 14 h 29"/>
              <a:gd name="T6" fmla="*/ 19 w 19"/>
              <a:gd name="T7" fmla="*/ 18 h 29"/>
              <a:gd name="T8" fmla="*/ 13 w 19"/>
              <a:gd name="T9" fmla="*/ 29 h 29"/>
              <a:gd name="T10" fmla="*/ 11 w 19"/>
              <a:gd name="T11" fmla="*/ 29 h 29"/>
              <a:gd name="T12" fmla="*/ 5 w 19"/>
              <a:gd name="T13" fmla="*/ 23 h 29"/>
              <a:gd name="T14" fmla="*/ 0 w 19"/>
              <a:gd name="T15" fmla="*/ 14 h 29"/>
              <a:gd name="T16" fmla="*/ 0 w 19"/>
              <a:gd name="T17" fmla="*/ 3 h 29"/>
              <a:gd name="T18" fmla="*/ 3 w 19"/>
              <a:gd name="T19"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29">
                <a:moveTo>
                  <a:pt x="3" y="0"/>
                </a:moveTo>
                <a:lnTo>
                  <a:pt x="5" y="0"/>
                </a:lnTo>
                <a:lnTo>
                  <a:pt x="19" y="14"/>
                </a:lnTo>
                <a:lnTo>
                  <a:pt x="19" y="18"/>
                </a:lnTo>
                <a:lnTo>
                  <a:pt x="13" y="29"/>
                </a:lnTo>
                <a:lnTo>
                  <a:pt x="11" y="29"/>
                </a:lnTo>
                <a:lnTo>
                  <a:pt x="5" y="23"/>
                </a:lnTo>
                <a:lnTo>
                  <a:pt x="0" y="14"/>
                </a:lnTo>
                <a:lnTo>
                  <a:pt x="0" y="3"/>
                </a:lnTo>
                <a:lnTo>
                  <a:pt x="3"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79" name="Freeform 79">
            <a:extLst>
              <a:ext uri="{FF2B5EF4-FFF2-40B4-BE49-F238E27FC236}">
                <a16:creationId xmlns:a16="http://schemas.microsoft.com/office/drawing/2014/main" id="{A43C89A1-3556-4D58-9660-6B85179B8F1F}"/>
              </a:ext>
            </a:extLst>
          </p:cNvPr>
          <p:cNvSpPr>
            <a:spLocks/>
          </p:cNvSpPr>
          <p:nvPr>
            <p:custDataLst>
              <p:tags r:id="rId72"/>
            </p:custDataLst>
          </p:nvPr>
        </p:nvSpPr>
        <p:spPr bwMode="auto">
          <a:xfrm rot="120000">
            <a:off x="8983564" y="5822011"/>
            <a:ext cx="1047720" cy="188907"/>
          </a:xfrm>
          <a:custGeom>
            <a:avLst/>
            <a:gdLst>
              <a:gd name="T0" fmla="*/ 550 w 643"/>
              <a:gd name="T1" fmla="*/ 0 h 117"/>
              <a:gd name="T2" fmla="*/ 547 w 643"/>
              <a:gd name="T3" fmla="*/ 14 h 117"/>
              <a:gd name="T4" fmla="*/ 515 w 643"/>
              <a:gd name="T5" fmla="*/ 32 h 117"/>
              <a:gd name="T6" fmla="*/ 474 w 643"/>
              <a:gd name="T7" fmla="*/ 39 h 117"/>
              <a:gd name="T8" fmla="*/ 480 w 643"/>
              <a:gd name="T9" fmla="*/ 47 h 117"/>
              <a:gd name="T10" fmla="*/ 550 w 643"/>
              <a:gd name="T11" fmla="*/ 45 h 117"/>
              <a:gd name="T12" fmla="*/ 566 w 643"/>
              <a:gd name="T13" fmla="*/ 50 h 117"/>
              <a:gd name="T14" fmla="*/ 599 w 643"/>
              <a:gd name="T15" fmla="*/ 60 h 117"/>
              <a:gd name="T16" fmla="*/ 637 w 643"/>
              <a:gd name="T17" fmla="*/ 53 h 117"/>
              <a:gd name="T18" fmla="*/ 643 w 643"/>
              <a:gd name="T19" fmla="*/ 65 h 117"/>
              <a:gd name="T20" fmla="*/ 634 w 643"/>
              <a:gd name="T21" fmla="*/ 81 h 117"/>
              <a:gd name="T22" fmla="*/ 615 w 643"/>
              <a:gd name="T23" fmla="*/ 94 h 117"/>
              <a:gd name="T24" fmla="*/ 608 w 643"/>
              <a:gd name="T25" fmla="*/ 94 h 117"/>
              <a:gd name="T26" fmla="*/ 593 w 643"/>
              <a:gd name="T27" fmla="*/ 81 h 117"/>
              <a:gd name="T28" fmla="*/ 580 w 643"/>
              <a:gd name="T29" fmla="*/ 84 h 117"/>
              <a:gd name="T30" fmla="*/ 556 w 643"/>
              <a:gd name="T31" fmla="*/ 99 h 117"/>
              <a:gd name="T32" fmla="*/ 523 w 643"/>
              <a:gd name="T33" fmla="*/ 94 h 117"/>
              <a:gd name="T34" fmla="*/ 483 w 643"/>
              <a:gd name="T35" fmla="*/ 94 h 117"/>
              <a:gd name="T36" fmla="*/ 445 w 643"/>
              <a:gd name="T37" fmla="*/ 107 h 117"/>
              <a:gd name="T38" fmla="*/ 412 w 643"/>
              <a:gd name="T39" fmla="*/ 113 h 117"/>
              <a:gd name="T40" fmla="*/ 366 w 643"/>
              <a:gd name="T41" fmla="*/ 117 h 117"/>
              <a:gd name="T42" fmla="*/ 339 w 643"/>
              <a:gd name="T43" fmla="*/ 113 h 117"/>
              <a:gd name="T44" fmla="*/ 290 w 643"/>
              <a:gd name="T45" fmla="*/ 107 h 117"/>
              <a:gd name="T46" fmla="*/ 244 w 643"/>
              <a:gd name="T47" fmla="*/ 99 h 117"/>
              <a:gd name="T48" fmla="*/ 223 w 643"/>
              <a:gd name="T49" fmla="*/ 110 h 117"/>
              <a:gd name="T50" fmla="*/ 193 w 643"/>
              <a:gd name="T51" fmla="*/ 115 h 117"/>
              <a:gd name="T52" fmla="*/ 169 w 643"/>
              <a:gd name="T53" fmla="*/ 113 h 117"/>
              <a:gd name="T54" fmla="*/ 101 w 643"/>
              <a:gd name="T55" fmla="*/ 107 h 117"/>
              <a:gd name="T56" fmla="*/ 79 w 643"/>
              <a:gd name="T57" fmla="*/ 97 h 117"/>
              <a:gd name="T58" fmla="*/ 85 w 643"/>
              <a:gd name="T59" fmla="*/ 84 h 117"/>
              <a:gd name="T60" fmla="*/ 11 w 643"/>
              <a:gd name="T61" fmla="*/ 81 h 117"/>
              <a:gd name="T62" fmla="*/ 3 w 643"/>
              <a:gd name="T63" fmla="*/ 84 h 117"/>
              <a:gd name="T64" fmla="*/ 19 w 643"/>
              <a:gd name="T65" fmla="*/ 63 h 117"/>
              <a:gd name="T66" fmla="*/ 44 w 643"/>
              <a:gd name="T67" fmla="*/ 50 h 117"/>
              <a:gd name="T68" fmla="*/ 49 w 643"/>
              <a:gd name="T69" fmla="*/ 39 h 117"/>
              <a:gd name="T70" fmla="*/ 55 w 643"/>
              <a:gd name="T71" fmla="*/ 24 h 117"/>
              <a:gd name="T72" fmla="*/ 81 w 643"/>
              <a:gd name="T73" fmla="*/ 19 h 117"/>
              <a:gd name="T74" fmla="*/ 145 w 643"/>
              <a:gd name="T75" fmla="*/ 24 h 117"/>
              <a:gd name="T76" fmla="*/ 210 w 643"/>
              <a:gd name="T77" fmla="*/ 30 h 117"/>
              <a:gd name="T78" fmla="*/ 290 w 643"/>
              <a:gd name="T79" fmla="*/ 45 h 117"/>
              <a:gd name="T80" fmla="*/ 331 w 643"/>
              <a:gd name="T81" fmla="*/ 39 h 117"/>
              <a:gd name="T82" fmla="*/ 339 w 643"/>
              <a:gd name="T83" fmla="*/ 24 h 117"/>
              <a:gd name="T84" fmla="*/ 356 w 643"/>
              <a:gd name="T85" fmla="*/ 16 h 117"/>
              <a:gd name="T86" fmla="*/ 390 w 643"/>
              <a:gd name="T87" fmla="*/ 16 h 117"/>
              <a:gd name="T88" fmla="*/ 450 w 643"/>
              <a:gd name="T89" fmla="*/ 19 h 117"/>
              <a:gd name="T90" fmla="*/ 491 w 643"/>
              <a:gd name="T91" fmla="*/ 5 h 117"/>
              <a:gd name="T92" fmla="*/ 515 w 643"/>
              <a:gd name="T93" fmla="*/ 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3" h="117">
                <a:moveTo>
                  <a:pt x="518" y="0"/>
                </a:moveTo>
                <a:lnTo>
                  <a:pt x="550" y="0"/>
                </a:lnTo>
                <a:lnTo>
                  <a:pt x="553" y="5"/>
                </a:lnTo>
                <a:lnTo>
                  <a:pt x="547" y="14"/>
                </a:lnTo>
                <a:lnTo>
                  <a:pt x="537" y="27"/>
                </a:lnTo>
                <a:lnTo>
                  <a:pt x="515" y="32"/>
                </a:lnTo>
                <a:lnTo>
                  <a:pt x="483" y="37"/>
                </a:lnTo>
                <a:lnTo>
                  <a:pt x="474" y="39"/>
                </a:lnTo>
                <a:lnTo>
                  <a:pt x="474" y="42"/>
                </a:lnTo>
                <a:lnTo>
                  <a:pt x="480" y="47"/>
                </a:lnTo>
                <a:lnTo>
                  <a:pt x="515" y="47"/>
                </a:lnTo>
                <a:lnTo>
                  <a:pt x="550" y="45"/>
                </a:lnTo>
                <a:lnTo>
                  <a:pt x="564" y="47"/>
                </a:lnTo>
                <a:lnTo>
                  <a:pt x="566" y="50"/>
                </a:lnTo>
                <a:lnTo>
                  <a:pt x="589" y="57"/>
                </a:lnTo>
                <a:lnTo>
                  <a:pt x="599" y="60"/>
                </a:lnTo>
                <a:lnTo>
                  <a:pt x="626" y="56"/>
                </a:lnTo>
                <a:lnTo>
                  <a:pt x="637" y="53"/>
                </a:lnTo>
                <a:lnTo>
                  <a:pt x="640" y="57"/>
                </a:lnTo>
                <a:lnTo>
                  <a:pt x="643" y="65"/>
                </a:lnTo>
                <a:lnTo>
                  <a:pt x="640" y="73"/>
                </a:lnTo>
                <a:lnTo>
                  <a:pt x="634" y="81"/>
                </a:lnTo>
                <a:lnTo>
                  <a:pt x="624" y="84"/>
                </a:lnTo>
                <a:lnTo>
                  <a:pt x="615" y="94"/>
                </a:lnTo>
                <a:lnTo>
                  <a:pt x="613" y="97"/>
                </a:lnTo>
                <a:lnTo>
                  <a:pt x="608" y="94"/>
                </a:lnTo>
                <a:lnTo>
                  <a:pt x="605" y="89"/>
                </a:lnTo>
                <a:lnTo>
                  <a:pt x="593" y="81"/>
                </a:lnTo>
                <a:lnTo>
                  <a:pt x="583" y="81"/>
                </a:lnTo>
                <a:lnTo>
                  <a:pt x="580" y="84"/>
                </a:lnTo>
                <a:lnTo>
                  <a:pt x="575" y="94"/>
                </a:lnTo>
                <a:lnTo>
                  <a:pt x="556" y="99"/>
                </a:lnTo>
                <a:lnTo>
                  <a:pt x="535" y="97"/>
                </a:lnTo>
                <a:lnTo>
                  <a:pt x="523" y="94"/>
                </a:lnTo>
                <a:lnTo>
                  <a:pt x="495" y="91"/>
                </a:lnTo>
                <a:lnTo>
                  <a:pt x="483" y="94"/>
                </a:lnTo>
                <a:lnTo>
                  <a:pt x="461" y="97"/>
                </a:lnTo>
                <a:lnTo>
                  <a:pt x="445" y="107"/>
                </a:lnTo>
                <a:lnTo>
                  <a:pt x="433" y="110"/>
                </a:lnTo>
                <a:lnTo>
                  <a:pt x="412" y="113"/>
                </a:lnTo>
                <a:lnTo>
                  <a:pt x="396" y="115"/>
                </a:lnTo>
                <a:lnTo>
                  <a:pt x="366" y="117"/>
                </a:lnTo>
                <a:lnTo>
                  <a:pt x="356" y="113"/>
                </a:lnTo>
                <a:lnTo>
                  <a:pt x="339" y="113"/>
                </a:lnTo>
                <a:lnTo>
                  <a:pt x="322" y="110"/>
                </a:lnTo>
                <a:lnTo>
                  <a:pt x="290" y="107"/>
                </a:lnTo>
                <a:lnTo>
                  <a:pt x="274" y="102"/>
                </a:lnTo>
                <a:lnTo>
                  <a:pt x="244" y="99"/>
                </a:lnTo>
                <a:lnTo>
                  <a:pt x="233" y="102"/>
                </a:lnTo>
                <a:lnTo>
                  <a:pt x="223" y="110"/>
                </a:lnTo>
                <a:lnTo>
                  <a:pt x="212" y="113"/>
                </a:lnTo>
                <a:lnTo>
                  <a:pt x="193" y="115"/>
                </a:lnTo>
                <a:lnTo>
                  <a:pt x="180" y="115"/>
                </a:lnTo>
                <a:lnTo>
                  <a:pt x="169" y="113"/>
                </a:lnTo>
                <a:lnTo>
                  <a:pt x="141" y="107"/>
                </a:lnTo>
                <a:lnTo>
                  <a:pt x="101" y="107"/>
                </a:lnTo>
                <a:lnTo>
                  <a:pt x="85" y="102"/>
                </a:lnTo>
                <a:lnTo>
                  <a:pt x="79" y="97"/>
                </a:lnTo>
                <a:lnTo>
                  <a:pt x="79" y="94"/>
                </a:lnTo>
                <a:lnTo>
                  <a:pt x="85" y="84"/>
                </a:lnTo>
                <a:lnTo>
                  <a:pt x="81" y="81"/>
                </a:lnTo>
                <a:lnTo>
                  <a:pt x="11" y="81"/>
                </a:lnTo>
                <a:lnTo>
                  <a:pt x="0" y="87"/>
                </a:lnTo>
                <a:lnTo>
                  <a:pt x="3" y="84"/>
                </a:lnTo>
                <a:lnTo>
                  <a:pt x="11" y="71"/>
                </a:lnTo>
                <a:lnTo>
                  <a:pt x="19" y="63"/>
                </a:lnTo>
                <a:lnTo>
                  <a:pt x="33" y="57"/>
                </a:lnTo>
                <a:lnTo>
                  <a:pt x="44" y="50"/>
                </a:lnTo>
                <a:lnTo>
                  <a:pt x="49" y="50"/>
                </a:lnTo>
                <a:lnTo>
                  <a:pt x="49" y="39"/>
                </a:lnTo>
                <a:lnTo>
                  <a:pt x="51" y="30"/>
                </a:lnTo>
                <a:lnTo>
                  <a:pt x="55" y="24"/>
                </a:lnTo>
                <a:lnTo>
                  <a:pt x="62" y="19"/>
                </a:lnTo>
                <a:lnTo>
                  <a:pt x="81" y="19"/>
                </a:lnTo>
                <a:lnTo>
                  <a:pt x="130" y="24"/>
                </a:lnTo>
                <a:lnTo>
                  <a:pt x="145" y="24"/>
                </a:lnTo>
                <a:lnTo>
                  <a:pt x="199" y="27"/>
                </a:lnTo>
                <a:lnTo>
                  <a:pt x="210" y="30"/>
                </a:lnTo>
                <a:lnTo>
                  <a:pt x="230" y="45"/>
                </a:lnTo>
                <a:lnTo>
                  <a:pt x="290" y="45"/>
                </a:lnTo>
                <a:lnTo>
                  <a:pt x="320" y="42"/>
                </a:lnTo>
                <a:lnTo>
                  <a:pt x="331" y="39"/>
                </a:lnTo>
                <a:lnTo>
                  <a:pt x="336" y="34"/>
                </a:lnTo>
                <a:lnTo>
                  <a:pt x="339" y="24"/>
                </a:lnTo>
                <a:lnTo>
                  <a:pt x="345" y="19"/>
                </a:lnTo>
                <a:lnTo>
                  <a:pt x="356" y="16"/>
                </a:lnTo>
                <a:lnTo>
                  <a:pt x="369" y="11"/>
                </a:lnTo>
                <a:lnTo>
                  <a:pt x="390" y="16"/>
                </a:lnTo>
                <a:lnTo>
                  <a:pt x="420" y="16"/>
                </a:lnTo>
                <a:lnTo>
                  <a:pt x="450" y="19"/>
                </a:lnTo>
                <a:lnTo>
                  <a:pt x="470" y="16"/>
                </a:lnTo>
                <a:lnTo>
                  <a:pt x="491" y="5"/>
                </a:lnTo>
                <a:lnTo>
                  <a:pt x="501" y="5"/>
                </a:lnTo>
                <a:lnTo>
                  <a:pt x="515" y="3"/>
                </a:lnTo>
                <a:lnTo>
                  <a:pt x="518"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80" name="Freeform 80">
            <a:extLst>
              <a:ext uri="{FF2B5EF4-FFF2-40B4-BE49-F238E27FC236}">
                <a16:creationId xmlns:a16="http://schemas.microsoft.com/office/drawing/2014/main" id="{A4E4FD38-BD02-4919-8C8B-725CA085D1F8}"/>
              </a:ext>
            </a:extLst>
          </p:cNvPr>
          <p:cNvSpPr>
            <a:spLocks/>
          </p:cNvSpPr>
          <p:nvPr>
            <p:custDataLst>
              <p:tags r:id="rId73"/>
            </p:custDataLst>
          </p:nvPr>
        </p:nvSpPr>
        <p:spPr bwMode="auto">
          <a:xfrm rot="120000">
            <a:off x="8702586" y="5809314"/>
            <a:ext cx="41274" cy="34924"/>
          </a:xfrm>
          <a:custGeom>
            <a:avLst/>
            <a:gdLst>
              <a:gd name="T0" fmla="*/ 8 w 24"/>
              <a:gd name="T1" fmla="*/ 0 h 23"/>
              <a:gd name="T2" fmla="*/ 16 w 24"/>
              <a:gd name="T3" fmla="*/ 0 h 23"/>
              <a:gd name="T4" fmla="*/ 18 w 24"/>
              <a:gd name="T5" fmla="*/ 8 h 23"/>
              <a:gd name="T6" fmla="*/ 24 w 24"/>
              <a:gd name="T7" fmla="*/ 18 h 23"/>
              <a:gd name="T8" fmla="*/ 18 w 24"/>
              <a:gd name="T9" fmla="*/ 23 h 23"/>
              <a:gd name="T10" fmla="*/ 5 w 24"/>
              <a:gd name="T11" fmla="*/ 23 h 23"/>
              <a:gd name="T12" fmla="*/ 2 w 24"/>
              <a:gd name="T13" fmla="*/ 21 h 23"/>
              <a:gd name="T14" fmla="*/ 0 w 24"/>
              <a:gd name="T15" fmla="*/ 2 h 23"/>
              <a:gd name="T16" fmla="*/ 8 w 24"/>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3">
                <a:moveTo>
                  <a:pt x="8" y="0"/>
                </a:moveTo>
                <a:lnTo>
                  <a:pt x="16" y="0"/>
                </a:lnTo>
                <a:lnTo>
                  <a:pt x="18" y="8"/>
                </a:lnTo>
                <a:lnTo>
                  <a:pt x="24" y="18"/>
                </a:lnTo>
                <a:lnTo>
                  <a:pt x="18" y="23"/>
                </a:lnTo>
                <a:lnTo>
                  <a:pt x="5" y="23"/>
                </a:lnTo>
                <a:lnTo>
                  <a:pt x="2" y="21"/>
                </a:lnTo>
                <a:lnTo>
                  <a:pt x="0" y="2"/>
                </a:lnTo>
                <a:lnTo>
                  <a:pt x="8"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81" name="Freeform 81">
            <a:extLst>
              <a:ext uri="{FF2B5EF4-FFF2-40B4-BE49-F238E27FC236}">
                <a16:creationId xmlns:a16="http://schemas.microsoft.com/office/drawing/2014/main" id="{BCB3F3B2-98DE-440B-9DDE-2AECDDC8F33C}"/>
              </a:ext>
            </a:extLst>
          </p:cNvPr>
          <p:cNvSpPr>
            <a:spLocks/>
          </p:cNvSpPr>
          <p:nvPr>
            <p:custDataLst>
              <p:tags r:id="rId74"/>
            </p:custDataLst>
          </p:nvPr>
        </p:nvSpPr>
        <p:spPr bwMode="auto">
          <a:xfrm rot="120000">
            <a:off x="8324771" y="5477533"/>
            <a:ext cx="23813" cy="38099"/>
          </a:xfrm>
          <a:custGeom>
            <a:avLst/>
            <a:gdLst>
              <a:gd name="T0" fmla="*/ 4 w 14"/>
              <a:gd name="T1" fmla="*/ 0 h 25"/>
              <a:gd name="T2" fmla="*/ 10 w 14"/>
              <a:gd name="T3" fmla="*/ 3 h 25"/>
              <a:gd name="T4" fmla="*/ 14 w 14"/>
              <a:gd name="T5" fmla="*/ 10 h 25"/>
              <a:gd name="T6" fmla="*/ 14 w 14"/>
              <a:gd name="T7" fmla="*/ 15 h 25"/>
              <a:gd name="T8" fmla="*/ 10 w 14"/>
              <a:gd name="T9" fmla="*/ 23 h 25"/>
              <a:gd name="T10" fmla="*/ 3 w 14"/>
              <a:gd name="T11" fmla="*/ 25 h 25"/>
              <a:gd name="T12" fmla="*/ 1 w 14"/>
              <a:gd name="T13" fmla="*/ 19 h 25"/>
              <a:gd name="T14" fmla="*/ 0 w 14"/>
              <a:gd name="T15" fmla="*/ 13 h 25"/>
              <a:gd name="T16" fmla="*/ 0 w 14"/>
              <a:gd name="T17" fmla="*/ 8 h 25"/>
              <a:gd name="T18" fmla="*/ 4 w 14"/>
              <a:gd name="T19"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5">
                <a:moveTo>
                  <a:pt x="4" y="0"/>
                </a:moveTo>
                <a:lnTo>
                  <a:pt x="10" y="3"/>
                </a:lnTo>
                <a:lnTo>
                  <a:pt x="14" y="10"/>
                </a:lnTo>
                <a:lnTo>
                  <a:pt x="14" y="15"/>
                </a:lnTo>
                <a:lnTo>
                  <a:pt x="10" y="23"/>
                </a:lnTo>
                <a:lnTo>
                  <a:pt x="3" y="25"/>
                </a:lnTo>
                <a:lnTo>
                  <a:pt x="1" y="19"/>
                </a:lnTo>
                <a:lnTo>
                  <a:pt x="0" y="13"/>
                </a:lnTo>
                <a:lnTo>
                  <a:pt x="0" y="8"/>
                </a:lnTo>
                <a:lnTo>
                  <a:pt x="4"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82" name="Freeform 82">
            <a:extLst>
              <a:ext uri="{FF2B5EF4-FFF2-40B4-BE49-F238E27FC236}">
                <a16:creationId xmlns:a16="http://schemas.microsoft.com/office/drawing/2014/main" id="{B2959B1B-D839-46B5-8113-748A6D1E0D86}"/>
              </a:ext>
            </a:extLst>
          </p:cNvPr>
          <p:cNvSpPr>
            <a:spLocks/>
          </p:cNvSpPr>
          <p:nvPr>
            <p:custDataLst>
              <p:tags r:id="rId75"/>
            </p:custDataLst>
          </p:nvPr>
        </p:nvSpPr>
        <p:spPr bwMode="auto">
          <a:xfrm rot="120000">
            <a:off x="8896256" y="5272752"/>
            <a:ext cx="60323" cy="42861"/>
          </a:xfrm>
          <a:custGeom>
            <a:avLst/>
            <a:gdLst>
              <a:gd name="T0" fmla="*/ 0 w 38"/>
              <a:gd name="T1" fmla="*/ 7 h 26"/>
              <a:gd name="T2" fmla="*/ 7 w 38"/>
              <a:gd name="T3" fmla="*/ 0 h 26"/>
              <a:gd name="T4" fmla="*/ 17 w 38"/>
              <a:gd name="T5" fmla="*/ 7 h 26"/>
              <a:gd name="T6" fmla="*/ 37 w 38"/>
              <a:gd name="T7" fmla="*/ 5 h 26"/>
              <a:gd name="T8" fmla="*/ 38 w 38"/>
              <a:gd name="T9" fmla="*/ 10 h 26"/>
              <a:gd name="T10" fmla="*/ 38 w 38"/>
              <a:gd name="T11" fmla="*/ 18 h 26"/>
              <a:gd name="T12" fmla="*/ 30 w 38"/>
              <a:gd name="T13" fmla="*/ 26 h 26"/>
              <a:gd name="T14" fmla="*/ 24 w 38"/>
              <a:gd name="T15" fmla="*/ 25 h 26"/>
              <a:gd name="T16" fmla="*/ 20 w 38"/>
              <a:gd name="T17" fmla="*/ 23 h 26"/>
              <a:gd name="T18" fmla="*/ 7 w 38"/>
              <a:gd name="T19" fmla="*/ 16 h 26"/>
              <a:gd name="T20" fmla="*/ 7 w 38"/>
              <a:gd name="T21" fmla="*/ 10 h 26"/>
              <a:gd name="T22" fmla="*/ 0 w 38"/>
              <a:gd name="T23" fmla="*/ 7 h 26"/>
              <a:gd name="T24" fmla="*/ 0 w 38"/>
              <a:gd name="T25"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26">
                <a:moveTo>
                  <a:pt x="0" y="7"/>
                </a:moveTo>
                <a:lnTo>
                  <a:pt x="7" y="0"/>
                </a:lnTo>
                <a:lnTo>
                  <a:pt x="17" y="7"/>
                </a:lnTo>
                <a:lnTo>
                  <a:pt x="37" y="5"/>
                </a:lnTo>
                <a:lnTo>
                  <a:pt x="38" y="10"/>
                </a:lnTo>
                <a:lnTo>
                  <a:pt x="38" y="18"/>
                </a:lnTo>
                <a:lnTo>
                  <a:pt x="30" y="26"/>
                </a:lnTo>
                <a:lnTo>
                  <a:pt x="24" y="25"/>
                </a:lnTo>
                <a:lnTo>
                  <a:pt x="20" y="23"/>
                </a:lnTo>
                <a:lnTo>
                  <a:pt x="7" y="16"/>
                </a:lnTo>
                <a:lnTo>
                  <a:pt x="7" y="10"/>
                </a:lnTo>
                <a:lnTo>
                  <a:pt x="0" y="7"/>
                </a:lnTo>
                <a:lnTo>
                  <a:pt x="0" y="7"/>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83" name="Freeform 83">
            <a:extLst>
              <a:ext uri="{FF2B5EF4-FFF2-40B4-BE49-F238E27FC236}">
                <a16:creationId xmlns:a16="http://schemas.microsoft.com/office/drawing/2014/main" id="{DB999DB3-35DB-4856-B9B0-453F782CDABE}"/>
              </a:ext>
            </a:extLst>
          </p:cNvPr>
          <p:cNvSpPr>
            <a:spLocks/>
          </p:cNvSpPr>
          <p:nvPr>
            <p:custDataLst>
              <p:tags r:id="rId76"/>
            </p:custDataLst>
          </p:nvPr>
        </p:nvSpPr>
        <p:spPr bwMode="auto">
          <a:xfrm rot="120000">
            <a:off x="8935943" y="5385461"/>
            <a:ext cx="52385" cy="25399"/>
          </a:xfrm>
          <a:custGeom>
            <a:avLst/>
            <a:gdLst>
              <a:gd name="T0" fmla="*/ 4 w 32"/>
              <a:gd name="T1" fmla="*/ 10 h 15"/>
              <a:gd name="T2" fmla="*/ 0 w 32"/>
              <a:gd name="T3" fmla="*/ 0 h 15"/>
              <a:gd name="T4" fmla="*/ 15 w 32"/>
              <a:gd name="T5" fmla="*/ 0 h 15"/>
              <a:gd name="T6" fmla="*/ 25 w 32"/>
              <a:gd name="T7" fmla="*/ 7 h 15"/>
              <a:gd name="T8" fmla="*/ 32 w 32"/>
              <a:gd name="T9" fmla="*/ 15 h 15"/>
              <a:gd name="T10" fmla="*/ 19 w 32"/>
              <a:gd name="T11" fmla="*/ 15 h 15"/>
              <a:gd name="T12" fmla="*/ 6 w 32"/>
              <a:gd name="T13" fmla="*/ 12 h 15"/>
              <a:gd name="T14" fmla="*/ 4 w 32"/>
              <a:gd name="T15" fmla="*/ 1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5">
                <a:moveTo>
                  <a:pt x="4" y="10"/>
                </a:moveTo>
                <a:lnTo>
                  <a:pt x="0" y="0"/>
                </a:lnTo>
                <a:lnTo>
                  <a:pt x="15" y="0"/>
                </a:lnTo>
                <a:lnTo>
                  <a:pt x="25" y="7"/>
                </a:lnTo>
                <a:lnTo>
                  <a:pt x="32" y="15"/>
                </a:lnTo>
                <a:lnTo>
                  <a:pt x="19" y="15"/>
                </a:lnTo>
                <a:lnTo>
                  <a:pt x="6" y="12"/>
                </a:lnTo>
                <a:lnTo>
                  <a:pt x="4" y="1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84" name="Freeform 84">
            <a:extLst>
              <a:ext uri="{FF2B5EF4-FFF2-40B4-BE49-F238E27FC236}">
                <a16:creationId xmlns:a16="http://schemas.microsoft.com/office/drawing/2014/main" id="{ABBC9E4A-7170-4A89-A612-BB8CA4F903D1}"/>
              </a:ext>
            </a:extLst>
          </p:cNvPr>
          <p:cNvSpPr>
            <a:spLocks/>
          </p:cNvSpPr>
          <p:nvPr>
            <p:custDataLst>
              <p:tags r:id="rId77"/>
            </p:custDataLst>
          </p:nvPr>
        </p:nvSpPr>
        <p:spPr bwMode="auto">
          <a:xfrm rot="120000">
            <a:off x="10877398" y="4767944"/>
            <a:ext cx="22224" cy="26986"/>
          </a:xfrm>
          <a:custGeom>
            <a:avLst/>
            <a:gdLst>
              <a:gd name="T0" fmla="*/ 8 w 13"/>
              <a:gd name="T1" fmla="*/ 0 h 16"/>
              <a:gd name="T2" fmla="*/ 13 w 13"/>
              <a:gd name="T3" fmla="*/ 6 h 16"/>
              <a:gd name="T4" fmla="*/ 13 w 13"/>
              <a:gd name="T5" fmla="*/ 11 h 16"/>
              <a:gd name="T6" fmla="*/ 8 w 13"/>
              <a:gd name="T7" fmla="*/ 16 h 16"/>
              <a:gd name="T8" fmla="*/ 2 w 13"/>
              <a:gd name="T9" fmla="*/ 11 h 16"/>
              <a:gd name="T10" fmla="*/ 0 w 13"/>
              <a:gd name="T11" fmla="*/ 6 h 16"/>
              <a:gd name="T12" fmla="*/ 2 w 13"/>
              <a:gd name="T13" fmla="*/ 6 h 16"/>
              <a:gd name="T14" fmla="*/ 8 w 13"/>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6">
                <a:moveTo>
                  <a:pt x="8" y="0"/>
                </a:moveTo>
                <a:lnTo>
                  <a:pt x="13" y="6"/>
                </a:lnTo>
                <a:lnTo>
                  <a:pt x="13" y="11"/>
                </a:lnTo>
                <a:lnTo>
                  <a:pt x="8" y="16"/>
                </a:lnTo>
                <a:lnTo>
                  <a:pt x="2" y="11"/>
                </a:lnTo>
                <a:lnTo>
                  <a:pt x="0" y="6"/>
                </a:lnTo>
                <a:lnTo>
                  <a:pt x="2" y="6"/>
                </a:lnTo>
                <a:lnTo>
                  <a:pt x="8"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85" name="Freeform 85">
            <a:extLst>
              <a:ext uri="{FF2B5EF4-FFF2-40B4-BE49-F238E27FC236}">
                <a16:creationId xmlns:a16="http://schemas.microsoft.com/office/drawing/2014/main" id="{368B419C-B5BD-4B50-8F68-ECA6B054746C}"/>
              </a:ext>
            </a:extLst>
          </p:cNvPr>
          <p:cNvSpPr>
            <a:spLocks/>
          </p:cNvSpPr>
          <p:nvPr>
            <p:custDataLst>
              <p:tags r:id="rId78"/>
            </p:custDataLst>
          </p:nvPr>
        </p:nvSpPr>
        <p:spPr bwMode="auto">
          <a:xfrm rot="120000">
            <a:off x="10883748" y="4809216"/>
            <a:ext cx="17462" cy="20637"/>
          </a:xfrm>
          <a:custGeom>
            <a:avLst/>
            <a:gdLst>
              <a:gd name="T0" fmla="*/ 7 w 11"/>
              <a:gd name="T1" fmla="*/ 0 h 13"/>
              <a:gd name="T2" fmla="*/ 11 w 11"/>
              <a:gd name="T3" fmla="*/ 5 h 13"/>
              <a:gd name="T4" fmla="*/ 11 w 11"/>
              <a:gd name="T5" fmla="*/ 13 h 13"/>
              <a:gd name="T6" fmla="*/ 3 w 11"/>
              <a:gd name="T7" fmla="*/ 13 h 13"/>
              <a:gd name="T8" fmla="*/ 0 w 11"/>
              <a:gd name="T9" fmla="*/ 2 h 13"/>
              <a:gd name="T10" fmla="*/ 6 w 11"/>
              <a:gd name="T11" fmla="*/ 2 h 13"/>
              <a:gd name="T12" fmla="*/ 7 w 1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7" y="0"/>
                </a:moveTo>
                <a:lnTo>
                  <a:pt x="11" y="5"/>
                </a:lnTo>
                <a:lnTo>
                  <a:pt x="11" y="13"/>
                </a:lnTo>
                <a:lnTo>
                  <a:pt x="3" y="13"/>
                </a:lnTo>
                <a:lnTo>
                  <a:pt x="0" y="2"/>
                </a:lnTo>
                <a:lnTo>
                  <a:pt x="6" y="2"/>
                </a:lnTo>
                <a:lnTo>
                  <a:pt x="7"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86" name="Freeform 86">
            <a:extLst>
              <a:ext uri="{FF2B5EF4-FFF2-40B4-BE49-F238E27FC236}">
                <a16:creationId xmlns:a16="http://schemas.microsoft.com/office/drawing/2014/main" id="{AB61AE9F-5802-4752-ABC7-0AA94EC21B3E}"/>
              </a:ext>
            </a:extLst>
          </p:cNvPr>
          <p:cNvSpPr>
            <a:spLocks/>
          </p:cNvSpPr>
          <p:nvPr>
            <p:custDataLst>
              <p:tags r:id="rId79"/>
            </p:custDataLst>
          </p:nvPr>
        </p:nvSpPr>
        <p:spPr bwMode="auto">
          <a:xfrm rot="120000">
            <a:off x="11118689" y="5568020"/>
            <a:ext cx="26987" cy="28575"/>
          </a:xfrm>
          <a:custGeom>
            <a:avLst/>
            <a:gdLst>
              <a:gd name="T0" fmla="*/ 3 w 16"/>
              <a:gd name="T1" fmla="*/ 0 h 18"/>
              <a:gd name="T2" fmla="*/ 13 w 16"/>
              <a:gd name="T3" fmla="*/ 3 h 18"/>
              <a:gd name="T4" fmla="*/ 16 w 16"/>
              <a:gd name="T5" fmla="*/ 5 h 18"/>
              <a:gd name="T6" fmla="*/ 16 w 16"/>
              <a:gd name="T7" fmla="*/ 15 h 18"/>
              <a:gd name="T8" fmla="*/ 13 w 16"/>
              <a:gd name="T9" fmla="*/ 18 h 18"/>
              <a:gd name="T10" fmla="*/ 10 w 16"/>
              <a:gd name="T11" fmla="*/ 18 h 18"/>
              <a:gd name="T12" fmla="*/ 0 w 16"/>
              <a:gd name="T13" fmla="*/ 11 h 18"/>
              <a:gd name="T14" fmla="*/ 0 w 16"/>
              <a:gd name="T15" fmla="*/ 5 h 18"/>
              <a:gd name="T16" fmla="*/ 3 w 16"/>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8">
                <a:moveTo>
                  <a:pt x="3" y="0"/>
                </a:moveTo>
                <a:lnTo>
                  <a:pt x="13" y="3"/>
                </a:lnTo>
                <a:lnTo>
                  <a:pt x="16" y="5"/>
                </a:lnTo>
                <a:lnTo>
                  <a:pt x="16" y="15"/>
                </a:lnTo>
                <a:lnTo>
                  <a:pt x="13" y="18"/>
                </a:lnTo>
                <a:lnTo>
                  <a:pt x="10" y="18"/>
                </a:lnTo>
                <a:lnTo>
                  <a:pt x="0" y="11"/>
                </a:lnTo>
                <a:lnTo>
                  <a:pt x="0" y="5"/>
                </a:lnTo>
                <a:lnTo>
                  <a:pt x="3"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87" name="Freeform 87">
            <a:extLst>
              <a:ext uri="{FF2B5EF4-FFF2-40B4-BE49-F238E27FC236}">
                <a16:creationId xmlns:a16="http://schemas.microsoft.com/office/drawing/2014/main" id="{04E66029-F710-40BB-BE7D-786F90234677}"/>
              </a:ext>
            </a:extLst>
          </p:cNvPr>
          <p:cNvSpPr>
            <a:spLocks/>
          </p:cNvSpPr>
          <p:nvPr>
            <p:custDataLst>
              <p:tags r:id="rId80"/>
            </p:custDataLst>
          </p:nvPr>
        </p:nvSpPr>
        <p:spPr bwMode="auto">
          <a:xfrm rot="120000">
            <a:off x="11196476" y="5609294"/>
            <a:ext cx="39686" cy="33336"/>
          </a:xfrm>
          <a:custGeom>
            <a:avLst/>
            <a:gdLst>
              <a:gd name="T0" fmla="*/ 9 w 24"/>
              <a:gd name="T1" fmla="*/ 0 h 20"/>
              <a:gd name="T2" fmla="*/ 18 w 24"/>
              <a:gd name="T3" fmla="*/ 0 h 20"/>
              <a:gd name="T4" fmla="*/ 24 w 24"/>
              <a:gd name="T5" fmla="*/ 5 h 20"/>
              <a:gd name="T6" fmla="*/ 24 w 24"/>
              <a:gd name="T7" fmla="*/ 6 h 20"/>
              <a:gd name="T8" fmla="*/ 13 w 24"/>
              <a:gd name="T9" fmla="*/ 17 h 20"/>
              <a:gd name="T10" fmla="*/ 6 w 24"/>
              <a:gd name="T11" fmla="*/ 20 h 20"/>
              <a:gd name="T12" fmla="*/ 0 w 24"/>
              <a:gd name="T13" fmla="*/ 12 h 20"/>
              <a:gd name="T14" fmla="*/ 0 w 24"/>
              <a:gd name="T15" fmla="*/ 9 h 20"/>
              <a:gd name="T16" fmla="*/ 9 w 24"/>
              <a:gd name="T1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0">
                <a:moveTo>
                  <a:pt x="9" y="0"/>
                </a:moveTo>
                <a:lnTo>
                  <a:pt x="18" y="0"/>
                </a:lnTo>
                <a:lnTo>
                  <a:pt x="24" y="5"/>
                </a:lnTo>
                <a:lnTo>
                  <a:pt x="24" y="6"/>
                </a:lnTo>
                <a:lnTo>
                  <a:pt x="13" y="17"/>
                </a:lnTo>
                <a:lnTo>
                  <a:pt x="6" y="20"/>
                </a:lnTo>
                <a:lnTo>
                  <a:pt x="0" y="12"/>
                </a:lnTo>
                <a:lnTo>
                  <a:pt x="0" y="9"/>
                </a:lnTo>
                <a:lnTo>
                  <a:pt x="9"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88" name="Freeform 88">
            <a:extLst>
              <a:ext uri="{FF2B5EF4-FFF2-40B4-BE49-F238E27FC236}">
                <a16:creationId xmlns:a16="http://schemas.microsoft.com/office/drawing/2014/main" id="{651FE979-F785-4060-8546-1955C5740A79}"/>
              </a:ext>
            </a:extLst>
          </p:cNvPr>
          <p:cNvSpPr>
            <a:spLocks/>
          </p:cNvSpPr>
          <p:nvPr>
            <p:custDataLst>
              <p:tags r:id="rId81"/>
            </p:custDataLst>
          </p:nvPr>
        </p:nvSpPr>
        <p:spPr bwMode="auto">
          <a:xfrm rot="120000">
            <a:off x="11163139" y="5614054"/>
            <a:ext cx="14287" cy="25399"/>
          </a:xfrm>
          <a:custGeom>
            <a:avLst/>
            <a:gdLst>
              <a:gd name="T0" fmla="*/ 4 w 9"/>
              <a:gd name="T1" fmla="*/ 0 h 15"/>
              <a:gd name="T2" fmla="*/ 9 w 9"/>
              <a:gd name="T3" fmla="*/ 0 h 15"/>
              <a:gd name="T4" fmla="*/ 9 w 9"/>
              <a:gd name="T5" fmla="*/ 10 h 15"/>
              <a:gd name="T6" fmla="*/ 4 w 9"/>
              <a:gd name="T7" fmla="*/ 15 h 15"/>
              <a:gd name="T8" fmla="*/ 0 w 9"/>
              <a:gd name="T9" fmla="*/ 12 h 15"/>
              <a:gd name="T10" fmla="*/ 0 w 9"/>
              <a:gd name="T11" fmla="*/ 5 h 15"/>
              <a:gd name="T12" fmla="*/ 4 w 9"/>
              <a:gd name="T13" fmla="*/ 0 h 15"/>
            </a:gdLst>
            <a:ahLst/>
            <a:cxnLst>
              <a:cxn ang="0">
                <a:pos x="T0" y="T1"/>
              </a:cxn>
              <a:cxn ang="0">
                <a:pos x="T2" y="T3"/>
              </a:cxn>
              <a:cxn ang="0">
                <a:pos x="T4" y="T5"/>
              </a:cxn>
              <a:cxn ang="0">
                <a:pos x="T6" y="T7"/>
              </a:cxn>
              <a:cxn ang="0">
                <a:pos x="T8" y="T9"/>
              </a:cxn>
              <a:cxn ang="0">
                <a:pos x="T10" y="T11"/>
              </a:cxn>
              <a:cxn ang="0">
                <a:pos x="T12" y="T13"/>
              </a:cxn>
            </a:cxnLst>
            <a:rect l="0" t="0" r="r" b="b"/>
            <a:pathLst>
              <a:path w="9" h="15">
                <a:moveTo>
                  <a:pt x="4" y="0"/>
                </a:moveTo>
                <a:lnTo>
                  <a:pt x="9" y="0"/>
                </a:lnTo>
                <a:lnTo>
                  <a:pt x="9" y="10"/>
                </a:lnTo>
                <a:lnTo>
                  <a:pt x="4" y="15"/>
                </a:lnTo>
                <a:lnTo>
                  <a:pt x="0" y="12"/>
                </a:lnTo>
                <a:lnTo>
                  <a:pt x="0" y="5"/>
                </a:lnTo>
                <a:lnTo>
                  <a:pt x="4" y="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89" name="Freeform 89">
            <a:extLst>
              <a:ext uri="{FF2B5EF4-FFF2-40B4-BE49-F238E27FC236}">
                <a16:creationId xmlns:a16="http://schemas.microsoft.com/office/drawing/2014/main" id="{B7D8407B-B304-47C8-82A2-3E9BAFCA8430}"/>
              </a:ext>
            </a:extLst>
          </p:cNvPr>
          <p:cNvSpPr>
            <a:spLocks/>
          </p:cNvSpPr>
          <p:nvPr>
            <p:custDataLst>
              <p:tags r:id="rId82"/>
            </p:custDataLst>
          </p:nvPr>
        </p:nvSpPr>
        <p:spPr bwMode="auto">
          <a:xfrm rot="120000">
            <a:off x="10699602" y="5945834"/>
            <a:ext cx="71436" cy="71435"/>
          </a:xfrm>
          <a:custGeom>
            <a:avLst/>
            <a:gdLst>
              <a:gd name="T0" fmla="*/ 39 w 44"/>
              <a:gd name="T1" fmla="*/ 2 h 44"/>
              <a:gd name="T2" fmla="*/ 44 w 44"/>
              <a:gd name="T3" fmla="*/ 11 h 44"/>
              <a:gd name="T4" fmla="*/ 37 w 44"/>
              <a:gd name="T5" fmla="*/ 23 h 44"/>
              <a:gd name="T6" fmla="*/ 24 w 44"/>
              <a:gd name="T7" fmla="*/ 41 h 44"/>
              <a:gd name="T8" fmla="*/ 17 w 44"/>
              <a:gd name="T9" fmla="*/ 44 h 44"/>
              <a:gd name="T10" fmla="*/ 3 w 44"/>
              <a:gd name="T11" fmla="*/ 41 h 44"/>
              <a:gd name="T12" fmla="*/ 0 w 44"/>
              <a:gd name="T13" fmla="*/ 36 h 44"/>
              <a:gd name="T14" fmla="*/ 0 w 44"/>
              <a:gd name="T15" fmla="*/ 33 h 44"/>
              <a:gd name="T16" fmla="*/ 3 w 44"/>
              <a:gd name="T17" fmla="*/ 30 h 44"/>
              <a:gd name="T18" fmla="*/ 19 w 44"/>
              <a:gd name="T19" fmla="*/ 25 h 44"/>
              <a:gd name="T20" fmla="*/ 24 w 44"/>
              <a:gd name="T21" fmla="*/ 21 h 44"/>
              <a:gd name="T22" fmla="*/ 32 w 44"/>
              <a:gd name="T23" fmla="*/ 10 h 44"/>
              <a:gd name="T24" fmla="*/ 39 w 44"/>
              <a:gd name="T25" fmla="*/ 0 h 44"/>
              <a:gd name="T26" fmla="*/ 39 w 44"/>
              <a:gd name="T27" fmla="*/ 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4">
                <a:moveTo>
                  <a:pt x="39" y="2"/>
                </a:moveTo>
                <a:lnTo>
                  <a:pt x="44" y="11"/>
                </a:lnTo>
                <a:lnTo>
                  <a:pt x="37" y="23"/>
                </a:lnTo>
                <a:lnTo>
                  <a:pt x="24" y="41"/>
                </a:lnTo>
                <a:lnTo>
                  <a:pt x="17" y="44"/>
                </a:lnTo>
                <a:lnTo>
                  <a:pt x="3" y="41"/>
                </a:lnTo>
                <a:lnTo>
                  <a:pt x="0" y="36"/>
                </a:lnTo>
                <a:lnTo>
                  <a:pt x="0" y="33"/>
                </a:lnTo>
                <a:lnTo>
                  <a:pt x="3" y="30"/>
                </a:lnTo>
                <a:lnTo>
                  <a:pt x="19" y="25"/>
                </a:lnTo>
                <a:lnTo>
                  <a:pt x="24" y="21"/>
                </a:lnTo>
                <a:lnTo>
                  <a:pt x="32" y="10"/>
                </a:lnTo>
                <a:lnTo>
                  <a:pt x="39" y="0"/>
                </a:lnTo>
                <a:lnTo>
                  <a:pt x="39" y="2"/>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90" name="Freeform 90">
            <a:extLst>
              <a:ext uri="{FF2B5EF4-FFF2-40B4-BE49-F238E27FC236}">
                <a16:creationId xmlns:a16="http://schemas.microsoft.com/office/drawing/2014/main" id="{1604B7E1-1F45-4023-80B3-FB0BE444AF39}"/>
              </a:ext>
            </a:extLst>
          </p:cNvPr>
          <p:cNvSpPr>
            <a:spLocks/>
          </p:cNvSpPr>
          <p:nvPr>
            <p:custDataLst>
              <p:tags r:id="rId83"/>
            </p:custDataLst>
          </p:nvPr>
        </p:nvSpPr>
        <p:spPr bwMode="auto">
          <a:xfrm rot="120000">
            <a:off x="10831360" y="5699777"/>
            <a:ext cx="95247" cy="57148"/>
          </a:xfrm>
          <a:custGeom>
            <a:avLst/>
            <a:gdLst>
              <a:gd name="T0" fmla="*/ 46 w 59"/>
              <a:gd name="T1" fmla="*/ 0 h 35"/>
              <a:gd name="T2" fmla="*/ 59 w 59"/>
              <a:gd name="T3" fmla="*/ 0 h 35"/>
              <a:gd name="T4" fmla="*/ 59 w 59"/>
              <a:gd name="T5" fmla="*/ 3 h 35"/>
              <a:gd name="T6" fmla="*/ 50 w 59"/>
              <a:gd name="T7" fmla="*/ 23 h 35"/>
              <a:gd name="T8" fmla="*/ 39 w 59"/>
              <a:gd name="T9" fmla="*/ 26 h 35"/>
              <a:gd name="T10" fmla="*/ 28 w 59"/>
              <a:gd name="T11" fmla="*/ 26 h 35"/>
              <a:gd name="T12" fmla="*/ 6 w 59"/>
              <a:gd name="T13" fmla="*/ 35 h 35"/>
              <a:gd name="T14" fmla="*/ 4 w 59"/>
              <a:gd name="T15" fmla="*/ 35 h 35"/>
              <a:gd name="T16" fmla="*/ 0 w 59"/>
              <a:gd name="T17" fmla="*/ 33 h 35"/>
              <a:gd name="T18" fmla="*/ 0 w 59"/>
              <a:gd name="T19" fmla="*/ 26 h 35"/>
              <a:gd name="T20" fmla="*/ 4 w 59"/>
              <a:gd name="T21" fmla="*/ 16 h 35"/>
              <a:gd name="T22" fmla="*/ 6 w 59"/>
              <a:gd name="T23" fmla="*/ 14 h 35"/>
              <a:gd name="T24" fmla="*/ 18 w 59"/>
              <a:gd name="T25" fmla="*/ 10 h 35"/>
              <a:gd name="T26" fmla="*/ 34 w 59"/>
              <a:gd name="T27" fmla="*/ 5 h 35"/>
              <a:gd name="T28" fmla="*/ 43 w 59"/>
              <a:gd name="T29" fmla="*/ 3 h 35"/>
              <a:gd name="T30" fmla="*/ 46 w 59"/>
              <a:gd name="T3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 h="35">
                <a:moveTo>
                  <a:pt x="46" y="0"/>
                </a:moveTo>
                <a:lnTo>
                  <a:pt x="59" y="0"/>
                </a:lnTo>
                <a:lnTo>
                  <a:pt x="59" y="3"/>
                </a:lnTo>
                <a:lnTo>
                  <a:pt x="50" y="23"/>
                </a:lnTo>
                <a:lnTo>
                  <a:pt x="39" y="26"/>
                </a:lnTo>
                <a:lnTo>
                  <a:pt x="28" y="26"/>
                </a:lnTo>
                <a:lnTo>
                  <a:pt x="6" y="35"/>
                </a:lnTo>
                <a:lnTo>
                  <a:pt x="4" y="35"/>
                </a:lnTo>
                <a:lnTo>
                  <a:pt x="0" y="33"/>
                </a:lnTo>
                <a:lnTo>
                  <a:pt x="0" y="26"/>
                </a:lnTo>
                <a:lnTo>
                  <a:pt x="4" y="16"/>
                </a:lnTo>
                <a:lnTo>
                  <a:pt x="6" y="14"/>
                </a:lnTo>
                <a:lnTo>
                  <a:pt x="18" y="10"/>
                </a:lnTo>
                <a:lnTo>
                  <a:pt x="34" y="5"/>
                </a:lnTo>
                <a:lnTo>
                  <a:pt x="43" y="3"/>
                </a:lnTo>
                <a:lnTo>
                  <a:pt x="46" y="0"/>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91" name="Freeform 91">
            <a:extLst>
              <a:ext uri="{FF2B5EF4-FFF2-40B4-BE49-F238E27FC236}">
                <a16:creationId xmlns:a16="http://schemas.microsoft.com/office/drawing/2014/main" id="{752877F6-E335-47AD-A0F8-1F38948DD1C6}"/>
              </a:ext>
            </a:extLst>
          </p:cNvPr>
          <p:cNvSpPr>
            <a:spLocks/>
          </p:cNvSpPr>
          <p:nvPr>
            <p:custDataLst>
              <p:tags r:id="rId84"/>
            </p:custDataLst>
          </p:nvPr>
        </p:nvSpPr>
        <p:spPr bwMode="auto">
          <a:xfrm rot="120000">
            <a:off x="10423385" y="5725176"/>
            <a:ext cx="393688" cy="173033"/>
          </a:xfrm>
          <a:custGeom>
            <a:avLst/>
            <a:gdLst>
              <a:gd name="T0" fmla="*/ 233 w 241"/>
              <a:gd name="T1" fmla="*/ 0 h 106"/>
              <a:gd name="T2" fmla="*/ 238 w 241"/>
              <a:gd name="T3" fmla="*/ 0 h 106"/>
              <a:gd name="T4" fmla="*/ 241 w 241"/>
              <a:gd name="T5" fmla="*/ 6 h 106"/>
              <a:gd name="T6" fmla="*/ 241 w 241"/>
              <a:gd name="T7" fmla="*/ 13 h 106"/>
              <a:gd name="T8" fmla="*/ 236 w 241"/>
              <a:gd name="T9" fmla="*/ 24 h 106"/>
              <a:gd name="T10" fmla="*/ 230 w 241"/>
              <a:gd name="T11" fmla="*/ 28 h 106"/>
              <a:gd name="T12" fmla="*/ 216 w 241"/>
              <a:gd name="T13" fmla="*/ 39 h 106"/>
              <a:gd name="T14" fmla="*/ 197 w 241"/>
              <a:gd name="T15" fmla="*/ 39 h 106"/>
              <a:gd name="T16" fmla="*/ 186 w 241"/>
              <a:gd name="T17" fmla="*/ 47 h 106"/>
              <a:gd name="T18" fmla="*/ 172 w 241"/>
              <a:gd name="T19" fmla="*/ 54 h 106"/>
              <a:gd name="T20" fmla="*/ 162 w 241"/>
              <a:gd name="T21" fmla="*/ 57 h 106"/>
              <a:gd name="T22" fmla="*/ 149 w 241"/>
              <a:gd name="T23" fmla="*/ 62 h 106"/>
              <a:gd name="T24" fmla="*/ 138 w 241"/>
              <a:gd name="T25" fmla="*/ 70 h 106"/>
              <a:gd name="T26" fmla="*/ 113 w 241"/>
              <a:gd name="T27" fmla="*/ 72 h 106"/>
              <a:gd name="T28" fmla="*/ 87 w 241"/>
              <a:gd name="T29" fmla="*/ 96 h 106"/>
              <a:gd name="T30" fmla="*/ 70 w 241"/>
              <a:gd name="T31" fmla="*/ 99 h 106"/>
              <a:gd name="T32" fmla="*/ 51 w 241"/>
              <a:gd name="T33" fmla="*/ 101 h 106"/>
              <a:gd name="T34" fmla="*/ 41 w 241"/>
              <a:gd name="T35" fmla="*/ 99 h 106"/>
              <a:gd name="T36" fmla="*/ 37 w 241"/>
              <a:gd name="T37" fmla="*/ 101 h 106"/>
              <a:gd name="T38" fmla="*/ 9 w 241"/>
              <a:gd name="T39" fmla="*/ 106 h 106"/>
              <a:gd name="T40" fmla="*/ 5 w 241"/>
              <a:gd name="T41" fmla="*/ 103 h 106"/>
              <a:gd name="T42" fmla="*/ 0 w 241"/>
              <a:gd name="T43" fmla="*/ 88 h 106"/>
              <a:gd name="T44" fmla="*/ 10 w 241"/>
              <a:gd name="T45" fmla="*/ 75 h 106"/>
              <a:gd name="T46" fmla="*/ 22 w 241"/>
              <a:gd name="T47" fmla="*/ 72 h 106"/>
              <a:gd name="T48" fmla="*/ 33 w 241"/>
              <a:gd name="T49" fmla="*/ 68 h 106"/>
              <a:gd name="T50" fmla="*/ 51 w 241"/>
              <a:gd name="T51" fmla="*/ 62 h 106"/>
              <a:gd name="T52" fmla="*/ 74 w 241"/>
              <a:gd name="T53" fmla="*/ 59 h 106"/>
              <a:gd name="T54" fmla="*/ 92 w 241"/>
              <a:gd name="T55" fmla="*/ 57 h 106"/>
              <a:gd name="T56" fmla="*/ 105 w 241"/>
              <a:gd name="T57" fmla="*/ 54 h 106"/>
              <a:gd name="T58" fmla="*/ 108 w 241"/>
              <a:gd name="T59" fmla="*/ 52 h 106"/>
              <a:gd name="T60" fmla="*/ 125 w 241"/>
              <a:gd name="T61" fmla="*/ 45 h 106"/>
              <a:gd name="T62" fmla="*/ 138 w 241"/>
              <a:gd name="T63" fmla="*/ 42 h 106"/>
              <a:gd name="T64" fmla="*/ 149 w 241"/>
              <a:gd name="T65" fmla="*/ 34 h 106"/>
              <a:gd name="T66" fmla="*/ 160 w 241"/>
              <a:gd name="T67" fmla="*/ 28 h 106"/>
              <a:gd name="T68" fmla="*/ 170 w 241"/>
              <a:gd name="T69" fmla="*/ 21 h 106"/>
              <a:gd name="T70" fmla="*/ 172 w 241"/>
              <a:gd name="T71" fmla="*/ 8 h 106"/>
              <a:gd name="T72" fmla="*/ 216 w 241"/>
              <a:gd name="T73" fmla="*/ 8 h 106"/>
              <a:gd name="T74" fmla="*/ 228 w 241"/>
              <a:gd name="T75" fmla="*/ 6 h 106"/>
              <a:gd name="T76" fmla="*/ 233 w 241"/>
              <a:gd name="T7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1" h="106">
                <a:moveTo>
                  <a:pt x="233" y="0"/>
                </a:moveTo>
                <a:lnTo>
                  <a:pt x="238" y="0"/>
                </a:lnTo>
                <a:lnTo>
                  <a:pt x="241" y="6"/>
                </a:lnTo>
                <a:lnTo>
                  <a:pt x="241" y="13"/>
                </a:lnTo>
                <a:lnTo>
                  <a:pt x="236" y="24"/>
                </a:lnTo>
                <a:lnTo>
                  <a:pt x="230" y="28"/>
                </a:lnTo>
                <a:lnTo>
                  <a:pt x="216" y="39"/>
                </a:lnTo>
                <a:lnTo>
                  <a:pt x="197" y="39"/>
                </a:lnTo>
                <a:lnTo>
                  <a:pt x="186" y="47"/>
                </a:lnTo>
                <a:lnTo>
                  <a:pt x="172" y="54"/>
                </a:lnTo>
                <a:lnTo>
                  <a:pt x="162" y="57"/>
                </a:lnTo>
                <a:lnTo>
                  <a:pt x="149" y="62"/>
                </a:lnTo>
                <a:lnTo>
                  <a:pt x="138" y="70"/>
                </a:lnTo>
                <a:lnTo>
                  <a:pt x="113" y="72"/>
                </a:lnTo>
                <a:lnTo>
                  <a:pt x="87" y="96"/>
                </a:lnTo>
                <a:lnTo>
                  <a:pt x="70" y="99"/>
                </a:lnTo>
                <a:lnTo>
                  <a:pt x="51" y="101"/>
                </a:lnTo>
                <a:lnTo>
                  <a:pt x="41" y="99"/>
                </a:lnTo>
                <a:lnTo>
                  <a:pt x="37" y="101"/>
                </a:lnTo>
                <a:lnTo>
                  <a:pt x="9" y="106"/>
                </a:lnTo>
                <a:lnTo>
                  <a:pt x="5" y="103"/>
                </a:lnTo>
                <a:lnTo>
                  <a:pt x="0" y="88"/>
                </a:lnTo>
                <a:lnTo>
                  <a:pt x="10" y="75"/>
                </a:lnTo>
                <a:lnTo>
                  <a:pt x="22" y="72"/>
                </a:lnTo>
                <a:lnTo>
                  <a:pt x="33" y="68"/>
                </a:lnTo>
                <a:lnTo>
                  <a:pt x="51" y="62"/>
                </a:lnTo>
                <a:lnTo>
                  <a:pt x="74" y="59"/>
                </a:lnTo>
                <a:lnTo>
                  <a:pt x="92" y="57"/>
                </a:lnTo>
                <a:lnTo>
                  <a:pt x="105" y="54"/>
                </a:lnTo>
                <a:lnTo>
                  <a:pt x="108" y="52"/>
                </a:lnTo>
                <a:lnTo>
                  <a:pt x="125" y="45"/>
                </a:lnTo>
                <a:lnTo>
                  <a:pt x="138" y="42"/>
                </a:lnTo>
                <a:lnTo>
                  <a:pt x="149" y="34"/>
                </a:lnTo>
                <a:lnTo>
                  <a:pt x="160" y="28"/>
                </a:lnTo>
                <a:lnTo>
                  <a:pt x="170" y="21"/>
                </a:lnTo>
                <a:lnTo>
                  <a:pt x="172" y="8"/>
                </a:lnTo>
                <a:lnTo>
                  <a:pt x="216" y="8"/>
                </a:lnTo>
                <a:lnTo>
                  <a:pt x="228" y="6"/>
                </a:lnTo>
                <a:lnTo>
                  <a:pt x="233"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92" name="Freeform 92">
            <a:extLst>
              <a:ext uri="{FF2B5EF4-FFF2-40B4-BE49-F238E27FC236}">
                <a16:creationId xmlns:a16="http://schemas.microsoft.com/office/drawing/2014/main" id="{A10EE797-EFBE-445E-A27C-766D4C7DDA14}"/>
              </a:ext>
            </a:extLst>
          </p:cNvPr>
          <p:cNvSpPr>
            <a:spLocks/>
          </p:cNvSpPr>
          <p:nvPr>
            <p:custDataLst>
              <p:tags r:id="rId85"/>
            </p:custDataLst>
          </p:nvPr>
        </p:nvSpPr>
        <p:spPr bwMode="auto">
          <a:xfrm rot="120000">
            <a:off x="10042397" y="5904561"/>
            <a:ext cx="92072" cy="85723"/>
          </a:xfrm>
          <a:custGeom>
            <a:avLst/>
            <a:gdLst>
              <a:gd name="T0" fmla="*/ 57 w 57"/>
              <a:gd name="T1" fmla="*/ 20 h 52"/>
              <a:gd name="T2" fmla="*/ 46 w 57"/>
              <a:gd name="T3" fmla="*/ 36 h 52"/>
              <a:gd name="T4" fmla="*/ 33 w 57"/>
              <a:gd name="T5" fmla="*/ 41 h 52"/>
              <a:gd name="T6" fmla="*/ 23 w 57"/>
              <a:gd name="T7" fmla="*/ 52 h 52"/>
              <a:gd name="T8" fmla="*/ 9 w 57"/>
              <a:gd name="T9" fmla="*/ 52 h 52"/>
              <a:gd name="T10" fmla="*/ 4 w 57"/>
              <a:gd name="T11" fmla="*/ 49 h 52"/>
              <a:gd name="T12" fmla="*/ 0 w 57"/>
              <a:gd name="T13" fmla="*/ 41 h 52"/>
              <a:gd name="T14" fmla="*/ 0 w 57"/>
              <a:gd name="T15" fmla="*/ 38 h 52"/>
              <a:gd name="T16" fmla="*/ 4 w 57"/>
              <a:gd name="T17" fmla="*/ 30 h 52"/>
              <a:gd name="T18" fmla="*/ 7 w 57"/>
              <a:gd name="T19" fmla="*/ 23 h 52"/>
              <a:gd name="T20" fmla="*/ 13 w 57"/>
              <a:gd name="T21" fmla="*/ 19 h 52"/>
              <a:gd name="T22" fmla="*/ 16 w 57"/>
              <a:gd name="T23" fmla="*/ 15 h 52"/>
              <a:gd name="T24" fmla="*/ 28 w 57"/>
              <a:gd name="T25" fmla="*/ 1 h 52"/>
              <a:gd name="T26" fmla="*/ 41 w 57"/>
              <a:gd name="T27" fmla="*/ 1 h 52"/>
              <a:gd name="T28" fmla="*/ 49 w 57"/>
              <a:gd name="T29" fmla="*/ 0 h 52"/>
              <a:gd name="T30" fmla="*/ 51 w 57"/>
              <a:gd name="T31" fmla="*/ 5 h 52"/>
              <a:gd name="T32" fmla="*/ 57 w 57"/>
              <a:gd name="T33" fmla="*/ 2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52">
                <a:moveTo>
                  <a:pt x="57" y="20"/>
                </a:moveTo>
                <a:lnTo>
                  <a:pt x="46" y="36"/>
                </a:lnTo>
                <a:lnTo>
                  <a:pt x="33" y="41"/>
                </a:lnTo>
                <a:lnTo>
                  <a:pt x="23" y="52"/>
                </a:lnTo>
                <a:lnTo>
                  <a:pt x="9" y="52"/>
                </a:lnTo>
                <a:lnTo>
                  <a:pt x="4" y="49"/>
                </a:lnTo>
                <a:lnTo>
                  <a:pt x="0" y="41"/>
                </a:lnTo>
                <a:lnTo>
                  <a:pt x="0" y="38"/>
                </a:lnTo>
                <a:lnTo>
                  <a:pt x="4" y="30"/>
                </a:lnTo>
                <a:lnTo>
                  <a:pt x="7" y="23"/>
                </a:lnTo>
                <a:lnTo>
                  <a:pt x="13" y="19"/>
                </a:lnTo>
                <a:lnTo>
                  <a:pt x="16" y="15"/>
                </a:lnTo>
                <a:lnTo>
                  <a:pt x="28" y="1"/>
                </a:lnTo>
                <a:lnTo>
                  <a:pt x="41" y="1"/>
                </a:lnTo>
                <a:lnTo>
                  <a:pt x="49" y="0"/>
                </a:lnTo>
                <a:lnTo>
                  <a:pt x="51" y="5"/>
                </a:lnTo>
                <a:lnTo>
                  <a:pt x="57" y="2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93" name="Freeform 93">
            <a:extLst>
              <a:ext uri="{FF2B5EF4-FFF2-40B4-BE49-F238E27FC236}">
                <a16:creationId xmlns:a16="http://schemas.microsoft.com/office/drawing/2014/main" id="{157C73B2-E568-4EB2-BA39-38126D811500}"/>
              </a:ext>
            </a:extLst>
          </p:cNvPr>
          <p:cNvSpPr>
            <a:spLocks/>
          </p:cNvSpPr>
          <p:nvPr>
            <p:custDataLst>
              <p:tags r:id="rId86"/>
            </p:custDataLst>
          </p:nvPr>
        </p:nvSpPr>
        <p:spPr bwMode="auto">
          <a:xfrm rot="120000">
            <a:off x="10356713" y="5933133"/>
            <a:ext cx="187319" cy="87309"/>
          </a:xfrm>
          <a:custGeom>
            <a:avLst/>
            <a:gdLst>
              <a:gd name="T0" fmla="*/ 25 w 116"/>
              <a:gd name="T1" fmla="*/ 0 h 54"/>
              <a:gd name="T2" fmla="*/ 36 w 116"/>
              <a:gd name="T3" fmla="*/ 0 h 54"/>
              <a:gd name="T4" fmla="*/ 57 w 116"/>
              <a:gd name="T5" fmla="*/ 2 h 54"/>
              <a:gd name="T6" fmla="*/ 67 w 116"/>
              <a:gd name="T7" fmla="*/ 5 h 54"/>
              <a:gd name="T8" fmla="*/ 79 w 116"/>
              <a:gd name="T9" fmla="*/ 2 h 54"/>
              <a:gd name="T10" fmla="*/ 89 w 116"/>
              <a:gd name="T11" fmla="*/ 10 h 54"/>
              <a:gd name="T12" fmla="*/ 100 w 116"/>
              <a:gd name="T13" fmla="*/ 21 h 54"/>
              <a:gd name="T14" fmla="*/ 111 w 116"/>
              <a:gd name="T15" fmla="*/ 26 h 54"/>
              <a:gd name="T16" fmla="*/ 116 w 116"/>
              <a:gd name="T17" fmla="*/ 31 h 54"/>
              <a:gd name="T18" fmla="*/ 111 w 116"/>
              <a:gd name="T19" fmla="*/ 42 h 54"/>
              <a:gd name="T20" fmla="*/ 106 w 116"/>
              <a:gd name="T21" fmla="*/ 49 h 54"/>
              <a:gd name="T22" fmla="*/ 97 w 116"/>
              <a:gd name="T23" fmla="*/ 54 h 54"/>
              <a:gd name="T24" fmla="*/ 70 w 116"/>
              <a:gd name="T25" fmla="*/ 54 h 54"/>
              <a:gd name="T26" fmla="*/ 55 w 116"/>
              <a:gd name="T27" fmla="*/ 44 h 54"/>
              <a:gd name="T28" fmla="*/ 27 w 116"/>
              <a:gd name="T29" fmla="*/ 44 h 54"/>
              <a:gd name="T30" fmla="*/ 25 w 116"/>
              <a:gd name="T31" fmla="*/ 42 h 54"/>
              <a:gd name="T32" fmla="*/ 19 w 116"/>
              <a:gd name="T33" fmla="*/ 31 h 54"/>
              <a:gd name="T34" fmla="*/ 14 w 116"/>
              <a:gd name="T35" fmla="*/ 28 h 54"/>
              <a:gd name="T36" fmla="*/ 6 w 116"/>
              <a:gd name="T37" fmla="*/ 31 h 54"/>
              <a:gd name="T38" fmla="*/ 0 w 116"/>
              <a:gd name="T39" fmla="*/ 31 h 54"/>
              <a:gd name="T40" fmla="*/ 0 w 116"/>
              <a:gd name="T41" fmla="*/ 26 h 54"/>
              <a:gd name="T42" fmla="*/ 8 w 116"/>
              <a:gd name="T43" fmla="*/ 16 h 54"/>
              <a:gd name="T44" fmla="*/ 19 w 116"/>
              <a:gd name="T45" fmla="*/ 2 h 54"/>
              <a:gd name="T46" fmla="*/ 25 w 116"/>
              <a:gd name="T4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 h="54">
                <a:moveTo>
                  <a:pt x="25" y="0"/>
                </a:moveTo>
                <a:lnTo>
                  <a:pt x="36" y="0"/>
                </a:lnTo>
                <a:lnTo>
                  <a:pt x="57" y="2"/>
                </a:lnTo>
                <a:lnTo>
                  <a:pt x="67" y="5"/>
                </a:lnTo>
                <a:lnTo>
                  <a:pt x="79" y="2"/>
                </a:lnTo>
                <a:lnTo>
                  <a:pt x="89" y="10"/>
                </a:lnTo>
                <a:lnTo>
                  <a:pt x="100" y="21"/>
                </a:lnTo>
                <a:lnTo>
                  <a:pt x="111" y="26"/>
                </a:lnTo>
                <a:lnTo>
                  <a:pt x="116" y="31"/>
                </a:lnTo>
                <a:lnTo>
                  <a:pt x="111" y="42"/>
                </a:lnTo>
                <a:lnTo>
                  <a:pt x="106" y="49"/>
                </a:lnTo>
                <a:lnTo>
                  <a:pt x="97" y="54"/>
                </a:lnTo>
                <a:lnTo>
                  <a:pt x="70" y="54"/>
                </a:lnTo>
                <a:lnTo>
                  <a:pt x="55" y="44"/>
                </a:lnTo>
                <a:lnTo>
                  <a:pt x="27" y="44"/>
                </a:lnTo>
                <a:lnTo>
                  <a:pt x="25" y="42"/>
                </a:lnTo>
                <a:lnTo>
                  <a:pt x="19" y="31"/>
                </a:lnTo>
                <a:lnTo>
                  <a:pt x="14" y="28"/>
                </a:lnTo>
                <a:lnTo>
                  <a:pt x="6" y="31"/>
                </a:lnTo>
                <a:lnTo>
                  <a:pt x="0" y="31"/>
                </a:lnTo>
                <a:lnTo>
                  <a:pt x="0" y="26"/>
                </a:lnTo>
                <a:lnTo>
                  <a:pt x="8" y="16"/>
                </a:lnTo>
                <a:lnTo>
                  <a:pt x="19" y="2"/>
                </a:lnTo>
                <a:lnTo>
                  <a:pt x="25"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94" name="Freeform 94">
            <a:extLst>
              <a:ext uri="{FF2B5EF4-FFF2-40B4-BE49-F238E27FC236}">
                <a16:creationId xmlns:a16="http://schemas.microsoft.com/office/drawing/2014/main" id="{30AD5173-EC80-4EAB-85BA-CD45E5AA906D}"/>
              </a:ext>
            </a:extLst>
          </p:cNvPr>
          <p:cNvSpPr>
            <a:spLocks/>
          </p:cNvSpPr>
          <p:nvPr>
            <p:custDataLst>
              <p:tags r:id="rId87"/>
            </p:custDataLst>
          </p:nvPr>
        </p:nvSpPr>
        <p:spPr bwMode="auto">
          <a:xfrm rot="120000">
            <a:off x="10599593" y="5968057"/>
            <a:ext cx="55561" cy="42861"/>
          </a:xfrm>
          <a:custGeom>
            <a:avLst/>
            <a:gdLst>
              <a:gd name="T0" fmla="*/ 24 w 34"/>
              <a:gd name="T1" fmla="*/ 0 h 27"/>
              <a:gd name="T2" fmla="*/ 32 w 34"/>
              <a:gd name="T3" fmla="*/ 3 h 27"/>
              <a:gd name="T4" fmla="*/ 34 w 34"/>
              <a:gd name="T5" fmla="*/ 9 h 27"/>
              <a:gd name="T6" fmla="*/ 34 w 34"/>
              <a:gd name="T7" fmla="*/ 16 h 27"/>
              <a:gd name="T8" fmla="*/ 29 w 34"/>
              <a:gd name="T9" fmla="*/ 25 h 27"/>
              <a:gd name="T10" fmla="*/ 6 w 34"/>
              <a:gd name="T11" fmla="*/ 27 h 27"/>
              <a:gd name="T12" fmla="*/ 0 w 34"/>
              <a:gd name="T13" fmla="*/ 22 h 27"/>
              <a:gd name="T14" fmla="*/ 0 w 34"/>
              <a:gd name="T15" fmla="*/ 19 h 27"/>
              <a:gd name="T16" fmla="*/ 2 w 34"/>
              <a:gd name="T17" fmla="*/ 16 h 27"/>
              <a:gd name="T18" fmla="*/ 13 w 34"/>
              <a:gd name="T19" fmla="*/ 11 h 27"/>
              <a:gd name="T20" fmla="*/ 24 w 34"/>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27">
                <a:moveTo>
                  <a:pt x="24" y="0"/>
                </a:moveTo>
                <a:lnTo>
                  <a:pt x="32" y="3"/>
                </a:lnTo>
                <a:lnTo>
                  <a:pt x="34" y="9"/>
                </a:lnTo>
                <a:lnTo>
                  <a:pt x="34" y="16"/>
                </a:lnTo>
                <a:lnTo>
                  <a:pt x="29" y="25"/>
                </a:lnTo>
                <a:lnTo>
                  <a:pt x="6" y="27"/>
                </a:lnTo>
                <a:lnTo>
                  <a:pt x="0" y="22"/>
                </a:lnTo>
                <a:lnTo>
                  <a:pt x="0" y="19"/>
                </a:lnTo>
                <a:lnTo>
                  <a:pt x="2" y="16"/>
                </a:lnTo>
                <a:lnTo>
                  <a:pt x="13" y="11"/>
                </a:lnTo>
                <a:lnTo>
                  <a:pt x="24" y="0"/>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95" name="Freeform 95">
            <a:extLst>
              <a:ext uri="{FF2B5EF4-FFF2-40B4-BE49-F238E27FC236}">
                <a16:creationId xmlns:a16="http://schemas.microsoft.com/office/drawing/2014/main" id="{AA4FCBC2-4C2D-4B69-A595-CF9024644FD2}"/>
              </a:ext>
            </a:extLst>
          </p:cNvPr>
          <p:cNvSpPr>
            <a:spLocks/>
          </p:cNvSpPr>
          <p:nvPr>
            <p:custDataLst>
              <p:tags r:id="rId88"/>
            </p:custDataLst>
          </p:nvPr>
        </p:nvSpPr>
        <p:spPr bwMode="auto">
          <a:xfrm rot="120000">
            <a:off x="10140819" y="5860110"/>
            <a:ext cx="244468" cy="93660"/>
          </a:xfrm>
          <a:custGeom>
            <a:avLst/>
            <a:gdLst>
              <a:gd name="T0" fmla="*/ 3 w 149"/>
              <a:gd name="T1" fmla="*/ 48 h 57"/>
              <a:gd name="T2" fmla="*/ 0 w 149"/>
              <a:gd name="T3" fmla="*/ 38 h 57"/>
              <a:gd name="T4" fmla="*/ 5 w 149"/>
              <a:gd name="T5" fmla="*/ 28 h 57"/>
              <a:gd name="T6" fmla="*/ 16 w 149"/>
              <a:gd name="T7" fmla="*/ 21 h 57"/>
              <a:gd name="T8" fmla="*/ 30 w 149"/>
              <a:gd name="T9" fmla="*/ 18 h 57"/>
              <a:gd name="T10" fmla="*/ 41 w 149"/>
              <a:gd name="T11" fmla="*/ 21 h 57"/>
              <a:gd name="T12" fmla="*/ 43 w 149"/>
              <a:gd name="T13" fmla="*/ 18 h 57"/>
              <a:gd name="T14" fmla="*/ 54 w 149"/>
              <a:gd name="T15" fmla="*/ 5 h 57"/>
              <a:gd name="T16" fmla="*/ 75 w 149"/>
              <a:gd name="T17" fmla="*/ 2 h 57"/>
              <a:gd name="T18" fmla="*/ 78 w 149"/>
              <a:gd name="T19" fmla="*/ 0 h 57"/>
              <a:gd name="T20" fmla="*/ 88 w 149"/>
              <a:gd name="T21" fmla="*/ 0 h 57"/>
              <a:gd name="T22" fmla="*/ 100 w 149"/>
              <a:gd name="T23" fmla="*/ 2 h 57"/>
              <a:gd name="T24" fmla="*/ 107 w 149"/>
              <a:gd name="T25" fmla="*/ 2 h 57"/>
              <a:gd name="T26" fmla="*/ 121 w 149"/>
              <a:gd name="T27" fmla="*/ 0 h 57"/>
              <a:gd name="T28" fmla="*/ 135 w 149"/>
              <a:gd name="T29" fmla="*/ 2 h 57"/>
              <a:gd name="T30" fmla="*/ 146 w 149"/>
              <a:gd name="T31" fmla="*/ 8 h 57"/>
              <a:gd name="T32" fmla="*/ 149 w 149"/>
              <a:gd name="T33" fmla="*/ 11 h 57"/>
              <a:gd name="T34" fmla="*/ 149 w 149"/>
              <a:gd name="T35" fmla="*/ 21 h 57"/>
              <a:gd name="T36" fmla="*/ 143 w 149"/>
              <a:gd name="T37" fmla="*/ 28 h 57"/>
              <a:gd name="T38" fmla="*/ 132 w 149"/>
              <a:gd name="T39" fmla="*/ 30 h 57"/>
              <a:gd name="T40" fmla="*/ 119 w 149"/>
              <a:gd name="T41" fmla="*/ 41 h 57"/>
              <a:gd name="T42" fmla="*/ 97 w 149"/>
              <a:gd name="T43" fmla="*/ 43 h 57"/>
              <a:gd name="T44" fmla="*/ 82 w 149"/>
              <a:gd name="T45" fmla="*/ 43 h 57"/>
              <a:gd name="T46" fmla="*/ 73 w 149"/>
              <a:gd name="T47" fmla="*/ 46 h 57"/>
              <a:gd name="T48" fmla="*/ 43 w 149"/>
              <a:gd name="T49" fmla="*/ 49 h 57"/>
              <a:gd name="T50" fmla="*/ 32 w 149"/>
              <a:gd name="T51" fmla="*/ 54 h 57"/>
              <a:gd name="T52" fmla="*/ 22 w 149"/>
              <a:gd name="T53" fmla="*/ 57 h 57"/>
              <a:gd name="T54" fmla="*/ 12 w 149"/>
              <a:gd name="T55" fmla="*/ 56 h 57"/>
              <a:gd name="T56" fmla="*/ 3 w 149"/>
              <a:gd name="T57" fmla="*/ 4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9" h="57">
                <a:moveTo>
                  <a:pt x="3" y="48"/>
                </a:moveTo>
                <a:lnTo>
                  <a:pt x="0" y="38"/>
                </a:lnTo>
                <a:lnTo>
                  <a:pt x="5" y="28"/>
                </a:lnTo>
                <a:lnTo>
                  <a:pt x="16" y="21"/>
                </a:lnTo>
                <a:lnTo>
                  <a:pt x="30" y="18"/>
                </a:lnTo>
                <a:lnTo>
                  <a:pt x="41" y="21"/>
                </a:lnTo>
                <a:lnTo>
                  <a:pt x="43" y="18"/>
                </a:lnTo>
                <a:lnTo>
                  <a:pt x="54" y="5"/>
                </a:lnTo>
                <a:lnTo>
                  <a:pt x="75" y="2"/>
                </a:lnTo>
                <a:lnTo>
                  <a:pt x="78" y="0"/>
                </a:lnTo>
                <a:lnTo>
                  <a:pt x="88" y="0"/>
                </a:lnTo>
                <a:lnTo>
                  <a:pt x="100" y="2"/>
                </a:lnTo>
                <a:lnTo>
                  <a:pt x="107" y="2"/>
                </a:lnTo>
                <a:lnTo>
                  <a:pt x="121" y="0"/>
                </a:lnTo>
                <a:lnTo>
                  <a:pt x="135" y="2"/>
                </a:lnTo>
                <a:lnTo>
                  <a:pt x="146" y="8"/>
                </a:lnTo>
                <a:lnTo>
                  <a:pt x="149" y="11"/>
                </a:lnTo>
                <a:lnTo>
                  <a:pt x="149" y="21"/>
                </a:lnTo>
                <a:lnTo>
                  <a:pt x="143" y="28"/>
                </a:lnTo>
                <a:lnTo>
                  <a:pt x="132" y="30"/>
                </a:lnTo>
                <a:lnTo>
                  <a:pt x="119" y="41"/>
                </a:lnTo>
                <a:lnTo>
                  <a:pt x="97" y="43"/>
                </a:lnTo>
                <a:lnTo>
                  <a:pt x="82" y="43"/>
                </a:lnTo>
                <a:lnTo>
                  <a:pt x="73" y="46"/>
                </a:lnTo>
                <a:lnTo>
                  <a:pt x="43" y="49"/>
                </a:lnTo>
                <a:lnTo>
                  <a:pt x="32" y="54"/>
                </a:lnTo>
                <a:lnTo>
                  <a:pt x="22" y="57"/>
                </a:lnTo>
                <a:lnTo>
                  <a:pt x="12" y="56"/>
                </a:lnTo>
                <a:lnTo>
                  <a:pt x="3" y="48"/>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96" name="Freeform 96">
            <a:extLst>
              <a:ext uri="{FF2B5EF4-FFF2-40B4-BE49-F238E27FC236}">
                <a16:creationId xmlns:a16="http://schemas.microsoft.com/office/drawing/2014/main" id="{72B833A5-F2C0-4CDD-A3A8-FB1B6F16B71A}"/>
              </a:ext>
            </a:extLst>
          </p:cNvPr>
          <p:cNvSpPr>
            <a:spLocks/>
          </p:cNvSpPr>
          <p:nvPr>
            <p:custDataLst>
              <p:tags r:id="rId89"/>
            </p:custDataLst>
          </p:nvPr>
        </p:nvSpPr>
        <p:spPr bwMode="auto">
          <a:xfrm rot="120000">
            <a:off x="10774212" y="5647394"/>
            <a:ext cx="355589" cy="312728"/>
          </a:xfrm>
          <a:custGeom>
            <a:avLst/>
            <a:gdLst>
              <a:gd name="T0" fmla="*/ 5 w 218"/>
              <a:gd name="T1" fmla="*/ 193 h 193"/>
              <a:gd name="T2" fmla="*/ 9 w 218"/>
              <a:gd name="T3" fmla="*/ 189 h 193"/>
              <a:gd name="T4" fmla="*/ 19 w 218"/>
              <a:gd name="T5" fmla="*/ 189 h 193"/>
              <a:gd name="T6" fmla="*/ 31 w 218"/>
              <a:gd name="T7" fmla="*/ 185 h 193"/>
              <a:gd name="T8" fmla="*/ 52 w 218"/>
              <a:gd name="T9" fmla="*/ 170 h 193"/>
              <a:gd name="T10" fmla="*/ 57 w 218"/>
              <a:gd name="T11" fmla="*/ 164 h 193"/>
              <a:gd name="T12" fmla="*/ 71 w 218"/>
              <a:gd name="T13" fmla="*/ 157 h 193"/>
              <a:gd name="T14" fmla="*/ 90 w 218"/>
              <a:gd name="T15" fmla="*/ 138 h 193"/>
              <a:gd name="T16" fmla="*/ 101 w 218"/>
              <a:gd name="T17" fmla="*/ 135 h 193"/>
              <a:gd name="T18" fmla="*/ 112 w 218"/>
              <a:gd name="T19" fmla="*/ 120 h 193"/>
              <a:gd name="T20" fmla="*/ 120 w 218"/>
              <a:gd name="T21" fmla="*/ 107 h 193"/>
              <a:gd name="T22" fmla="*/ 128 w 218"/>
              <a:gd name="T23" fmla="*/ 97 h 193"/>
              <a:gd name="T24" fmla="*/ 133 w 218"/>
              <a:gd name="T25" fmla="*/ 86 h 193"/>
              <a:gd name="T26" fmla="*/ 144 w 218"/>
              <a:gd name="T27" fmla="*/ 75 h 193"/>
              <a:gd name="T28" fmla="*/ 166 w 218"/>
              <a:gd name="T29" fmla="*/ 60 h 193"/>
              <a:gd name="T30" fmla="*/ 174 w 218"/>
              <a:gd name="T31" fmla="*/ 47 h 193"/>
              <a:gd name="T32" fmla="*/ 190 w 218"/>
              <a:gd name="T33" fmla="*/ 35 h 193"/>
              <a:gd name="T34" fmla="*/ 204 w 218"/>
              <a:gd name="T35" fmla="*/ 24 h 193"/>
              <a:gd name="T36" fmla="*/ 218 w 218"/>
              <a:gd name="T37" fmla="*/ 11 h 193"/>
              <a:gd name="T38" fmla="*/ 218 w 218"/>
              <a:gd name="T39" fmla="*/ 3 h 193"/>
              <a:gd name="T40" fmla="*/ 207 w 218"/>
              <a:gd name="T41" fmla="*/ 0 h 193"/>
              <a:gd name="T42" fmla="*/ 198 w 218"/>
              <a:gd name="T43" fmla="*/ 6 h 193"/>
              <a:gd name="T44" fmla="*/ 177 w 218"/>
              <a:gd name="T45" fmla="*/ 16 h 193"/>
              <a:gd name="T46" fmla="*/ 163 w 218"/>
              <a:gd name="T47" fmla="*/ 24 h 193"/>
              <a:gd name="T48" fmla="*/ 141 w 218"/>
              <a:gd name="T49" fmla="*/ 29 h 193"/>
              <a:gd name="T50" fmla="*/ 130 w 218"/>
              <a:gd name="T51" fmla="*/ 35 h 193"/>
              <a:gd name="T52" fmla="*/ 120 w 218"/>
              <a:gd name="T53" fmla="*/ 37 h 193"/>
              <a:gd name="T54" fmla="*/ 108 w 218"/>
              <a:gd name="T55" fmla="*/ 45 h 193"/>
              <a:gd name="T56" fmla="*/ 92 w 218"/>
              <a:gd name="T57" fmla="*/ 58 h 193"/>
              <a:gd name="T58" fmla="*/ 87 w 218"/>
              <a:gd name="T59" fmla="*/ 68 h 193"/>
              <a:gd name="T60" fmla="*/ 73 w 218"/>
              <a:gd name="T61" fmla="*/ 79 h 193"/>
              <a:gd name="T62" fmla="*/ 59 w 218"/>
              <a:gd name="T63" fmla="*/ 86 h 193"/>
              <a:gd name="T64" fmla="*/ 52 w 218"/>
              <a:gd name="T65" fmla="*/ 97 h 193"/>
              <a:gd name="T66" fmla="*/ 28 w 218"/>
              <a:gd name="T67" fmla="*/ 117 h 193"/>
              <a:gd name="T68" fmla="*/ 19 w 218"/>
              <a:gd name="T69" fmla="*/ 130 h 193"/>
              <a:gd name="T70" fmla="*/ 2 w 218"/>
              <a:gd name="T71" fmla="*/ 151 h 193"/>
              <a:gd name="T72" fmla="*/ 0 w 218"/>
              <a:gd name="T73" fmla="*/ 161 h 193"/>
              <a:gd name="T74" fmla="*/ 0 w 218"/>
              <a:gd name="T75" fmla="*/ 174 h 193"/>
              <a:gd name="T76" fmla="*/ 9 w 218"/>
              <a:gd name="T77" fmla="*/ 191 h 193"/>
              <a:gd name="T78" fmla="*/ 5 w 218"/>
              <a:gd name="T79"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18" h="193">
                <a:moveTo>
                  <a:pt x="5" y="193"/>
                </a:moveTo>
                <a:lnTo>
                  <a:pt x="9" y="189"/>
                </a:lnTo>
                <a:lnTo>
                  <a:pt x="19" y="189"/>
                </a:lnTo>
                <a:lnTo>
                  <a:pt x="31" y="185"/>
                </a:lnTo>
                <a:lnTo>
                  <a:pt x="52" y="170"/>
                </a:lnTo>
                <a:lnTo>
                  <a:pt x="57" y="164"/>
                </a:lnTo>
                <a:lnTo>
                  <a:pt x="71" y="157"/>
                </a:lnTo>
                <a:lnTo>
                  <a:pt x="90" y="138"/>
                </a:lnTo>
                <a:lnTo>
                  <a:pt x="101" y="135"/>
                </a:lnTo>
                <a:lnTo>
                  <a:pt x="112" y="120"/>
                </a:lnTo>
                <a:lnTo>
                  <a:pt x="120" y="107"/>
                </a:lnTo>
                <a:lnTo>
                  <a:pt x="128" y="97"/>
                </a:lnTo>
                <a:lnTo>
                  <a:pt x="133" y="86"/>
                </a:lnTo>
                <a:lnTo>
                  <a:pt x="144" y="75"/>
                </a:lnTo>
                <a:lnTo>
                  <a:pt x="166" y="60"/>
                </a:lnTo>
                <a:lnTo>
                  <a:pt x="174" y="47"/>
                </a:lnTo>
                <a:lnTo>
                  <a:pt x="190" y="35"/>
                </a:lnTo>
                <a:lnTo>
                  <a:pt x="204" y="24"/>
                </a:lnTo>
                <a:lnTo>
                  <a:pt x="218" y="11"/>
                </a:lnTo>
                <a:lnTo>
                  <a:pt x="218" y="3"/>
                </a:lnTo>
                <a:lnTo>
                  <a:pt x="207" y="0"/>
                </a:lnTo>
                <a:lnTo>
                  <a:pt x="198" y="6"/>
                </a:lnTo>
                <a:lnTo>
                  <a:pt x="177" y="16"/>
                </a:lnTo>
                <a:lnTo>
                  <a:pt x="163" y="24"/>
                </a:lnTo>
                <a:lnTo>
                  <a:pt x="141" y="29"/>
                </a:lnTo>
                <a:lnTo>
                  <a:pt x="130" y="35"/>
                </a:lnTo>
                <a:lnTo>
                  <a:pt x="120" y="37"/>
                </a:lnTo>
                <a:lnTo>
                  <a:pt x="108" y="45"/>
                </a:lnTo>
                <a:lnTo>
                  <a:pt x="92" y="58"/>
                </a:lnTo>
                <a:lnTo>
                  <a:pt x="87" y="68"/>
                </a:lnTo>
                <a:lnTo>
                  <a:pt x="73" y="79"/>
                </a:lnTo>
                <a:lnTo>
                  <a:pt x="59" y="86"/>
                </a:lnTo>
                <a:lnTo>
                  <a:pt x="52" y="97"/>
                </a:lnTo>
                <a:lnTo>
                  <a:pt x="28" y="117"/>
                </a:lnTo>
                <a:lnTo>
                  <a:pt x="19" y="130"/>
                </a:lnTo>
                <a:lnTo>
                  <a:pt x="2" y="151"/>
                </a:lnTo>
                <a:lnTo>
                  <a:pt x="0" y="161"/>
                </a:lnTo>
                <a:lnTo>
                  <a:pt x="0" y="174"/>
                </a:lnTo>
                <a:lnTo>
                  <a:pt x="9" y="191"/>
                </a:lnTo>
                <a:lnTo>
                  <a:pt x="5" y="193"/>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sp>
        <p:nvSpPr>
          <p:cNvPr id="97" name="Freeform 97">
            <a:extLst>
              <a:ext uri="{FF2B5EF4-FFF2-40B4-BE49-F238E27FC236}">
                <a16:creationId xmlns:a16="http://schemas.microsoft.com/office/drawing/2014/main" id="{8E1A6C8C-BA2B-4034-A897-CDE16242F6F5}"/>
              </a:ext>
            </a:extLst>
          </p:cNvPr>
          <p:cNvSpPr>
            <a:spLocks/>
          </p:cNvSpPr>
          <p:nvPr>
            <p:custDataLst>
              <p:tags r:id="rId90"/>
            </p:custDataLst>
          </p:nvPr>
        </p:nvSpPr>
        <p:spPr bwMode="auto">
          <a:xfrm rot="120000">
            <a:off x="9836026" y="4798102"/>
            <a:ext cx="128585" cy="103185"/>
          </a:xfrm>
          <a:custGeom>
            <a:avLst/>
            <a:gdLst>
              <a:gd name="T0" fmla="*/ 71 w 79"/>
              <a:gd name="T1" fmla="*/ 4 h 64"/>
              <a:gd name="T2" fmla="*/ 75 w 79"/>
              <a:gd name="T3" fmla="*/ 11 h 64"/>
              <a:gd name="T4" fmla="*/ 79 w 79"/>
              <a:gd name="T5" fmla="*/ 25 h 64"/>
              <a:gd name="T6" fmla="*/ 79 w 79"/>
              <a:gd name="T7" fmla="*/ 33 h 64"/>
              <a:gd name="T8" fmla="*/ 75 w 79"/>
              <a:gd name="T9" fmla="*/ 40 h 64"/>
              <a:gd name="T10" fmla="*/ 64 w 79"/>
              <a:gd name="T11" fmla="*/ 45 h 64"/>
              <a:gd name="T12" fmla="*/ 49 w 79"/>
              <a:gd name="T13" fmla="*/ 43 h 64"/>
              <a:gd name="T14" fmla="*/ 36 w 79"/>
              <a:gd name="T15" fmla="*/ 39 h 64"/>
              <a:gd name="T16" fmla="*/ 36 w 79"/>
              <a:gd name="T17" fmla="*/ 53 h 64"/>
              <a:gd name="T18" fmla="*/ 32 w 79"/>
              <a:gd name="T19" fmla="*/ 62 h 64"/>
              <a:gd name="T20" fmla="*/ 25 w 79"/>
              <a:gd name="T21" fmla="*/ 64 h 64"/>
              <a:gd name="T22" fmla="*/ 15 w 79"/>
              <a:gd name="T23" fmla="*/ 58 h 64"/>
              <a:gd name="T24" fmla="*/ 8 w 79"/>
              <a:gd name="T25" fmla="*/ 53 h 64"/>
              <a:gd name="T26" fmla="*/ 3 w 79"/>
              <a:gd name="T27" fmla="*/ 45 h 64"/>
              <a:gd name="T28" fmla="*/ 0 w 79"/>
              <a:gd name="T29" fmla="*/ 37 h 64"/>
              <a:gd name="T30" fmla="*/ 0 w 79"/>
              <a:gd name="T31" fmla="*/ 35 h 64"/>
              <a:gd name="T32" fmla="*/ 19 w 79"/>
              <a:gd name="T33" fmla="*/ 26 h 64"/>
              <a:gd name="T34" fmla="*/ 40 w 79"/>
              <a:gd name="T35" fmla="*/ 9 h 64"/>
              <a:gd name="T36" fmla="*/ 45 w 79"/>
              <a:gd name="T37" fmla="*/ 0 h 64"/>
              <a:gd name="T38" fmla="*/ 50 w 79"/>
              <a:gd name="T39" fmla="*/ 0 h 64"/>
              <a:gd name="T40" fmla="*/ 50 w 79"/>
              <a:gd name="T41" fmla="*/ 9 h 64"/>
              <a:gd name="T42" fmla="*/ 54 w 79"/>
              <a:gd name="T43" fmla="*/ 13 h 64"/>
              <a:gd name="T44" fmla="*/ 62 w 79"/>
              <a:gd name="T45" fmla="*/ 13 h 64"/>
              <a:gd name="T46" fmla="*/ 70 w 79"/>
              <a:gd name="T47" fmla="*/ 5 h 64"/>
              <a:gd name="T48" fmla="*/ 71 w 79"/>
              <a:gd name="T49"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64">
                <a:moveTo>
                  <a:pt x="71" y="4"/>
                </a:moveTo>
                <a:lnTo>
                  <a:pt x="75" y="11"/>
                </a:lnTo>
                <a:lnTo>
                  <a:pt x="79" y="25"/>
                </a:lnTo>
                <a:lnTo>
                  <a:pt x="79" y="33"/>
                </a:lnTo>
                <a:lnTo>
                  <a:pt x="75" y="40"/>
                </a:lnTo>
                <a:lnTo>
                  <a:pt x="64" y="45"/>
                </a:lnTo>
                <a:lnTo>
                  <a:pt x="49" y="43"/>
                </a:lnTo>
                <a:lnTo>
                  <a:pt x="36" y="39"/>
                </a:lnTo>
                <a:lnTo>
                  <a:pt x="36" y="53"/>
                </a:lnTo>
                <a:lnTo>
                  <a:pt x="32" y="62"/>
                </a:lnTo>
                <a:lnTo>
                  <a:pt x="25" y="64"/>
                </a:lnTo>
                <a:lnTo>
                  <a:pt x="15" y="58"/>
                </a:lnTo>
                <a:lnTo>
                  <a:pt x="8" y="53"/>
                </a:lnTo>
                <a:lnTo>
                  <a:pt x="3" y="45"/>
                </a:lnTo>
                <a:lnTo>
                  <a:pt x="0" y="37"/>
                </a:lnTo>
                <a:lnTo>
                  <a:pt x="0" y="35"/>
                </a:lnTo>
                <a:lnTo>
                  <a:pt x="19" y="26"/>
                </a:lnTo>
                <a:lnTo>
                  <a:pt x="40" y="9"/>
                </a:lnTo>
                <a:lnTo>
                  <a:pt x="45" y="0"/>
                </a:lnTo>
                <a:lnTo>
                  <a:pt x="50" y="0"/>
                </a:lnTo>
                <a:lnTo>
                  <a:pt x="50" y="9"/>
                </a:lnTo>
                <a:lnTo>
                  <a:pt x="54" y="13"/>
                </a:lnTo>
                <a:lnTo>
                  <a:pt x="62" y="13"/>
                </a:lnTo>
                <a:lnTo>
                  <a:pt x="70" y="5"/>
                </a:lnTo>
                <a:lnTo>
                  <a:pt x="71" y="4"/>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98" name="Freeform 98">
            <a:extLst>
              <a:ext uri="{FF2B5EF4-FFF2-40B4-BE49-F238E27FC236}">
                <a16:creationId xmlns:a16="http://schemas.microsoft.com/office/drawing/2014/main" id="{5405AB7E-A2E5-401A-92DB-C38326C6242C}"/>
              </a:ext>
            </a:extLst>
          </p:cNvPr>
          <p:cNvSpPr>
            <a:spLocks/>
          </p:cNvSpPr>
          <p:nvPr>
            <p:custDataLst>
              <p:tags r:id="rId91"/>
            </p:custDataLst>
          </p:nvPr>
        </p:nvSpPr>
        <p:spPr bwMode="auto">
          <a:xfrm rot="120000">
            <a:off x="10994870" y="5598179"/>
            <a:ext cx="100010" cy="76198"/>
          </a:xfrm>
          <a:custGeom>
            <a:avLst/>
            <a:gdLst>
              <a:gd name="T0" fmla="*/ 2 w 62"/>
              <a:gd name="T1" fmla="*/ 46 h 46"/>
              <a:gd name="T2" fmla="*/ 16 w 62"/>
              <a:gd name="T3" fmla="*/ 38 h 46"/>
              <a:gd name="T4" fmla="*/ 23 w 62"/>
              <a:gd name="T5" fmla="*/ 33 h 46"/>
              <a:gd name="T6" fmla="*/ 46 w 62"/>
              <a:gd name="T7" fmla="*/ 23 h 46"/>
              <a:gd name="T8" fmla="*/ 56 w 62"/>
              <a:gd name="T9" fmla="*/ 16 h 46"/>
              <a:gd name="T10" fmla="*/ 62 w 62"/>
              <a:gd name="T11" fmla="*/ 10 h 46"/>
              <a:gd name="T12" fmla="*/ 59 w 62"/>
              <a:gd name="T13" fmla="*/ 8 h 46"/>
              <a:gd name="T14" fmla="*/ 49 w 62"/>
              <a:gd name="T15" fmla="*/ 6 h 46"/>
              <a:gd name="T16" fmla="*/ 35 w 62"/>
              <a:gd name="T17" fmla="*/ 0 h 46"/>
              <a:gd name="T18" fmla="*/ 22 w 62"/>
              <a:gd name="T19" fmla="*/ 0 h 46"/>
              <a:gd name="T20" fmla="*/ 5 w 62"/>
              <a:gd name="T21" fmla="*/ 16 h 46"/>
              <a:gd name="T22" fmla="*/ 0 w 62"/>
              <a:gd name="T23" fmla="*/ 25 h 46"/>
              <a:gd name="T24" fmla="*/ 0 w 62"/>
              <a:gd name="T25" fmla="*/ 38 h 46"/>
              <a:gd name="T26" fmla="*/ 2 w 62"/>
              <a:gd name="T27" fmla="*/ 44 h 46"/>
              <a:gd name="T28" fmla="*/ 2 w 62"/>
              <a:gd name="T29"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 h="46">
                <a:moveTo>
                  <a:pt x="2" y="46"/>
                </a:moveTo>
                <a:lnTo>
                  <a:pt x="16" y="38"/>
                </a:lnTo>
                <a:lnTo>
                  <a:pt x="23" y="33"/>
                </a:lnTo>
                <a:lnTo>
                  <a:pt x="46" y="23"/>
                </a:lnTo>
                <a:lnTo>
                  <a:pt x="56" y="16"/>
                </a:lnTo>
                <a:lnTo>
                  <a:pt x="62" y="10"/>
                </a:lnTo>
                <a:lnTo>
                  <a:pt x="59" y="8"/>
                </a:lnTo>
                <a:lnTo>
                  <a:pt x="49" y="6"/>
                </a:lnTo>
                <a:lnTo>
                  <a:pt x="35" y="0"/>
                </a:lnTo>
                <a:lnTo>
                  <a:pt x="22" y="0"/>
                </a:lnTo>
                <a:lnTo>
                  <a:pt x="5" y="16"/>
                </a:lnTo>
                <a:lnTo>
                  <a:pt x="0" y="25"/>
                </a:lnTo>
                <a:lnTo>
                  <a:pt x="0" y="38"/>
                </a:lnTo>
                <a:lnTo>
                  <a:pt x="2" y="44"/>
                </a:lnTo>
                <a:lnTo>
                  <a:pt x="2" y="46"/>
                </a:lnTo>
              </a:path>
            </a:pathLst>
          </a:custGeom>
          <a:solidFill>
            <a:schemeClr val="accent1"/>
          </a:solidFill>
          <a:ln w="12700" cap="rnd" cmpd="sng">
            <a:solidFill>
              <a:schemeClr val="tx2"/>
            </a:solidFill>
            <a:prstDash val="solid"/>
            <a:round/>
            <a:headEnd/>
            <a:tailEnd/>
          </a:ln>
        </p:spPr>
        <p:txBody>
          <a:bodyPr/>
          <a:lstStyle/>
          <a:p>
            <a:pPr defTabSz="609539"/>
            <a:endParaRPr lang="en-US" sz="2399">
              <a:solidFill>
                <a:srgbClr val="000000"/>
              </a:solidFill>
            </a:endParaRPr>
          </a:p>
        </p:txBody>
      </p:sp>
      <p:grpSp>
        <p:nvGrpSpPr>
          <p:cNvPr id="99" name="Group 99">
            <a:extLst>
              <a:ext uri="{FF2B5EF4-FFF2-40B4-BE49-F238E27FC236}">
                <a16:creationId xmlns:a16="http://schemas.microsoft.com/office/drawing/2014/main" id="{423AF551-8C53-4E94-97B6-983BDD200C49}"/>
              </a:ext>
            </a:extLst>
          </p:cNvPr>
          <p:cNvGrpSpPr>
            <a:grpSpLocks/>
          </p:cNvGrpSpPr>
          <p:nvPr>
            <p:custDataLst>
              <p:tags r:id="rId92"/>
            </p:custDataLst>
          </p:nvPr>
        </p:nvGrpSpPr>
        <p:grpSpPr bwMode="auto">
          <a:xfrm rot="120000">
            <a:off x="9039126" y="4426639"/>
            <a:ext cx="61911" cy="57148"/>
            <a:chOff x="2928" y="2902"/>
            <a:chExt cx="38" cy="35"/>
          </a:xfrm>
        </p:grpSpPr>
        <p:sp>
          <p:nvSpPr>
            <p:cNvPr id="100" name="Freeform 100">
              <a:extLst>
                <a:ext uri="{FF2B5EF4-FFF2-40B4-BE49-F238E27FC236}">
                  <a16:creationId xmlns:a16="http://schemas.microsoft.com/office/drawing/2014/main" id="{EF4A417D-DDDA-4FF4-A956-A1BF2EF2D5D6}"/>
                </a:ext>
              </a:extLst>
            </p:cNvPr>
            <p:cNvSpPr>
              <a:spLocks/>
            </p:cNvSpPr>
            <p:nvPr/>
          </p:nvSpPr>
          <p:spPr bwMode="auto">
            <a:xfrm>
              <a:off x="2928" y="2902"/>
              <a:ext cx="38" cy="35"/>
            </a:xfrm>
            <a:custGeom>
              <a:avLst/>
              <a:gdLst>
                <a:gd name="T0" fmla="*/ 38 w 38"/>
                <a:gd name="T1" fmla="*/ 17 h 35"/>
                <a:gd name="T2" fmla="*/ 32 w 38"/>
                <a:gd name="T3" fmla="*/ 5 h 35"/>
                <a:gd name="T4" fmla="*/ 19 w 38"/>
                <a:gd name="T5" fmla="*/ 0 h 35"/>
                <a:gd name="T6" fmla="*/ 5 w 38"/>
                <a:gd name="T7" fmla="*/ 5 h 35"/>
                <a:gd name="T8" fmla="*/ 0 w 38"/>
                <a:gd name="T9" fmla="*/ 17 h 35"/>
                <a:gd name="T10" fmla="*/ 5 w 38"/>
                <a:gd name="T11" fmla="*/ 29 h 35"/>
                <a:gd name="T12" fmla="*/ 19 w 38"/>
                <a:gd name="T13" fmla="*/ 35 h 35"/>
                <a:gd name="T14" fmla="*/ 32 w 38"/>
                <a:gd name="T15" fmla="*/ 29 h 35"/>
                <a:gd name="T16" fmla="*/ 38 w 38"/>
                <a:gd name="T1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7"/>
                  </a:moveTo>
                  <a:lnTo>
                    <a:pt x="32" y="5"/>
                  </a:lnTo>
                  <a:lnTo>
                    <a:pt x="19" y="0"/>
                  </a:lnTo>
                  <a:lnTo>
                    <a:pt x="5" y="5"/>
                  </a:lnTo>
                  <a:lnTo>
                    <a:pt x="0" y="17"/>
                  </a:lnTo>
                  <a:lnTo>
                    <a:pt x="5" y="29"/>
                  </a:lnTo>
                  <a:lnTo>
                    <a:pt x="19" y="35"/>
                  </a:lnTo>
                  <a:lnTo>
                    <a:pt x="32" y="29"/>
                  </a:lnTo>
                  <a:lnTo>
                    <a:pt x="38" y="17"/>
                  </a:lnTo>
                  <a:close/>
                </a:path>
              </a:pathLst>
            </a:custGeom>
            <a:solidFill>
              <a:srgbClr val="0000FF"/>
            </a:solidFill>
            <a:ln w="12700" cmpd="sng">
              <a:solidFill>
                <a:schemeClr val="tx2"/>
              </a:solidFill>
              <a:round/>
              <a:headEnd/>
              <a:tailEnd/>
            </a:ln>
          </p:spPr>
          <p:txBody>
            <a:bodyPr/>
            <a:lstStyle/>
            <a:p>
              <a:pPr defTabSz="609539"/>
              <a:endParaRPr lang="en-US" sz="2399">
                <a:solidFill>
                  <a:srgbClr val="000000"/>
                </a:solidFill>
              </a:endParaRPr>
            </a:p>
          </p:txBody>
        </p:sp>
        <p:sp>
          <p:nvSpPr>
            <p:cNvPr id="101" name="Freeform 101">
              <a:extLst>
                <a:ext uri="{FF2B5EF4-FFF2-40B4-BE49-F238E27FC236}">
                  <a16:creationId xmlns:a16="http://schemas.microsoft.com/office/drawing/2014/main" id="{553B9426-A50C-42CC-BA0C-BA2D7C617133}"/>
                </a:ext>
              </a:extLst>
            </p:cNvPr>
            <p:cNvSpPr>
              <a:spLocks/>
            </p:cNvSpPr>
            <p:nvPr/>
          </p:nvSpPr>
          <p:spPr bwMode="auto">
            <a:xfrm>
              <a:off x="2928" y="2902"/>
              <a:ext cx="38" cy="35"/>
            </a:xfrm>
            <a:custGeom>
              <a:avLst/>
              <a:gdLst>
                <a:gd name="T0" fmla="*/ 38 w 38"/>
                <a:gd name="T1" fmla="*/ 17 h 35"/>
                <a:gd name="T2" fmla="*/ 32 w 38"/>
                <a:gd name="T3" fmla="*/ 5 h 35"/>
                <a:gd name="T4" fmla="*/ 19 w 38"/>
                <a:gd name="T5" fmla="*/ 0 h 35"/>
                <a:gd name="T6" fmla="*/ 5 w 38"/>
                <a:gd name="T7" fmla="*/ 5 h 35"/>
                <a:gd name="T8" fmla="*/ 0 w 38"/>
                <a:gd name="T9" fmla="*/ 17 h 35"/>
                <a:gd name="T10" fmla="*/ 5 w 38"/>
                <a:gd name="T11" fmla="*/ 29 h 35"/>
                <a:gd name="T12" fmla="*/ 19 w 38"/>
                <a:gd name="T13" fmla="*/ 35 h 35"/>
                <a:gd name="T14" fmla="*/ 32 w 38"/>
                <a:gd name="T15" fmla="*/ 29 h 35"/>
                <a:gd name="T16" fmla="*/ 38 w 38"/>
                <a:gd name="T1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7"/>
                  </a:moveTo>
                  <a:lnTo>
                    <a:pt x="32" y="5"/>
                  </a:lnTo>
                  <a:lnTo>
                    <a:pt x="19" y="0"/>
                  </a:lnTo>
                  <a:lnTo>
                    <a:pt x="5" y="5"/>
                  </a:lnTo>
                  <a:lnTo>
                    <a:pt x="0" y="17"/>
                  </a:lnTo>
                  <a:lnTo>
                    <a:pt x="5" y="29"/>
                  </a:lnTo>
                  <a:lnTo>
                    <a:pt x="19" y="35"/>
                  </a:lnTo>
                  <a:lnTo>
                    <a:pt x="32" y="29"/>
                  </a:lnTo>
                  <a:lnTo>
                    <a:pt x="38" y="17"/>
                  </a:lnTo>
                  <a:close/>
                </a:path>
              </a:pathLst>
            </a:custGeom>
            <a:noFill/>
            <a:ln w="12700" cap="rnd" cmpd="sng">
              <a:solidFill>
                <a:schemeClr val="tx2"/>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defTabSz="609539"/>
              <a:endParaRPr lang="en-US" sz="2399">
                <a:solidFill>
                  <a:srgbClr val="000000"/>
                </a:solidFill>
              </a:endParaRPr>
            </a:p>
          </p:txBody>
        </p:sp>
      </p:grpSp>
      <p:sp>
        <p:nvSpPr>
          <p:cNvPr id="102" name="Freeform 102">
            <a:extLst>
              <a:ext uri="{FF2B5EF4-FFF2-40B4-BE49-F238E27FC236}">
                <a16:creationId xmlns:a16="http://schemas.microsoft.com/office/drawing/2014/main" id="{1D8206DB-D5FD-4066-AA28-FEAF2C40609B}"/>
              </a:ext>
            </a:extLst>
          </p:cNvPr>
          <p:cNvSpPr>
            <a:spLocks/>
          </p:cNvSpPr>
          <p:nvPr>
            <p:custDataLst>
              <p:tags r:id="rId93"/>
            </p:custDataLst>
          </p:nvPr>
        </p:nvSpPr>
        <p:spPr bwMode="auto">
          <a:xfrm rot="120000">
            <a:off x="7516758" y="2977294"/>
            <a:ext cx="249230" cy="114296"/>
          </a:xfrm>
          <a:custGeom>
            <a:avLst/>
            <a:gdLst>
              <a:gd name="T0" fmla="*/ 144 w 153"/>
              <a:gd name="T1" fmla="*/ 3 h 70"/>
              <a:gd name="T2" fmla="*/ 144 w 153"/>
              <a:gd name="T3" fmla="*/ 5 h 70"/>
              <a:gd name="T4" fmla="*/ 153 w 153"/>
              <a:gd name="T5" fmla="*/ 32 h 70"/>
              <a:gd name="T6" fmla="*/ 152 w 153"/>
              <a:gd name="T7" fmla="*/ 46 h 70"/>
              <a:gd name="T8" fmla="*/ 143 w 153"/>
              <a:gd name="T9" fmla="*/ 57 h 70"/>
              <a:gd name="T10" fmla="*/ 128 w 153"/>
              <a:gd name="T11" fmla="*/ 65 h 70"/>
              <a:gd name="T12" fmla="*/ 102 w 153"/>
              <a:gd name="T13" fmla="*/ 70 h 70"/>
              <a:gd name="T14" fmla="*/ 51 w 153"/>
              <a:gd name="T15" fmla="*/ 65 h 70"/>
              <a:gd name="T16" fmla="*/ 30 w 153"/>
              <a:gd name="T17" fmla="*/ 59 h 70"/>
              <a:gd name="T18" fmla="*/ 18 w 153"/>
              <a:gd name="T19" fmla="*/ 54 h 70"/>
              <a:gd name="T20" fmla="*/ 8 w 153"/>
              <a:gd name="T21" fmla="*/ 45 h 70"/>
              <a:gd name="T22" fmla="*/ 0 w 153"/>
              <a:gd name="T23" fmla="*/ 32 h 70"/>
              <a:gd name="T24" fmla="*/ 25 w 153"/>
              <a:gd name="T25" fmla="*/ 13 h 70"/>
              <a:gd name="T26" fmla="*/ 42 w 153"/>
              <a:gd name="T27" fmla="*/ 5 h 70"/>
              <a:gd name="T28" fmla="*/ 58 w 153"/>
              <a:gd name="T29" fmla="*/ 0 h 70"/>
              <a:gd name="T30" fmla="*/ 73 w 153"/>
              <a:gd name="T31" fmla="*/ 2 h 70"/>
              <a:gd name="T32" fmla="*/ 88 w 153"/>
              <a:gd name="T33" fmla="*/ 3 h 70"/>
              <a:gd name="T34" fmla="*/ 116 w 153"/>
              <a:gd name="T35" fmla="*/ 5 h 70"/>
              <a:gd name="T36" fmla="*/ 127 w 153"/>
              <a:gd name="T37" fmla="*/ 3 h 70"/>
              <a:gd name="T38" fmla="*/ 144 w 153"/>
              <a:gd name="T39" fmla="*/ 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3" h="70">
                <a:moveTo>
                  <a:pt x="144" y="3"/>
                </a:moveTo>
                <a:lnTo>
                  <a:pt x="144" y="5"/>
                </a:lnTo>
                <a:lnTo>
                  <a:pt x="153" y="32"/>
                </a:lnTo>
                <a:lnTo>
                  <a:pt x="152" y="46"/>
                </a:lnTo>
                <a:lnTo>
                  <a:pt x="143" y="57"/>
                </a:lnTo>
                <a:lnTo>
                  <a:pt x="128" y="65"/>
                </a:lnTo>
                <a:lnTo>
                  <a:pt x="102" y="70"/>
                </a:lnTo>
                <a:lnTo>
                  <a:pt x="51" y="65"/>
                </a:lnTo>
                <a:lnTo>
                  <a:pt x="30" y="59"/>
                </a:lnTo>
                <a:lnTo>
                  <a:pt x="18" y="54"/>
                </a:lnTo>
                <a:lnTo>
                  <a:pt x="8" y="45"/>
                </a:lnTo>
                <a:lnTo>
                  <a:pt x="0" y="32"/>
                </a:lnTo>
                <a:lnTo>
                  <a:pt x="25" y="13"/>
                </a:lnTo>
                <a:lnTo>
                  <a:pt x="42" y="5"/>
                </a:lnTo>
                <a:lnTo>
                  <a:pt x="58" y="0"/>
                </a:lnTo>
                <a:lnTo>
                  <a:pt x="73" y="2"/>
                </a:lnTo>
                <a:lnTo>
                  <a:pt x="88" y="3"/>
                </a:lnTo>
                <a:lnTo>
                  <a:pt x="116" y="5"/>
                </a:lnTo>
                <a:lnTo>
                  <a:pt x="127" y="3"/>
                </a:lnTo>
                <a:lnTo>
                  <a:pt x="144" y="3"/>
                </a:lnTo>
              </a:path>
            </a:pathLst>
          </a:custGeom>
          <a:noFill/>
          <a:ln w="9525" cap="rnd">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103" name="Freeform 103">
            <a:extLst>
              <a:ext uri="{FF2B5EF4-FFF2-40B4-BE49-F238E27FC236}">
                <a16:creationId xmlns:a16="http://schemas.microsoft.com/office/drawing/2014/main" id="{C01F88F9-666A-44B1-894E-2588B9AB01AB}"/>
              </a:ext>
            </a:extLst>
          </p:cNvPr>
          <p:cNvSpPr>
            <a:spLocks/>
          </p:cNvSpPr>
          <p:nvPr>
            <p:custDataLst>
              <p:tags r:id="rId94"/>
            </p:custDataLst>
          </p:nvPr>
        </p:nvSpPr>
        <p:spPr bwMode="auto">
          <a:xfrm rot="120000">
            <a:off x="6792880" y="2696314"/>
            <a:ext cx="706417" cy="387339"/>
          </a:xfrm>
          <a:custGeom>
            <a:avLst/>
            <a:gdLst>
              <a:gd name="T0" fmla="*/ 38 w 433"/>
              <a:gd name="T1" fmla="*/ 0 h 239"/>
              <a:gd name="T2" fmla="*/ 45 w 433"/>
              <a:gd name="T3" fmla="*/ 25 h 239"/>
              <a:gd name="T4" fmla="*/ 36 w 433"/>
              <a:gd name="T5" fmla="*/ 30 h 239"/>
              <a:gd name="T6" fmla="*/ 25 w 433"/>
              <a:gd name="T7" fmla="*/ 37 h 239"/>
              <a:gd name="T8" fmla="*/ 15 w 433"/>
              <a:gd name="T9" fmla="*/ 46 h 239"/>
              <a:gd name="T10" fmla="*/ 8 w 433"/>
              <a:gd name="T11" fmla="*/ 56 h 239"/>
              <a:gd name="T12" fmla="*/ 4 w 433"/>
              <a:gd name="T13" fmla="*/ 70 h 239"/>
              <a:gd name="T14" fmla="*/ 0 w 433"/>
              <a:gd name="T15" fmla="*/ 84 h 239"/>
              <a:gd name="T16" fmla="*/ 5 w 433"/>
              <a:gd name="T17" fmla="*/ 92 h 239"/>
              <a:gd name="T18" fmla="*/ 17 w 433"/>
              <a:gd name="T19" fmla="*/ 93 h 239"/>
              <a:gd name="T20" fmla="*/ 31 w 433"/>
              <a:gd name="T21" fmla="*/ 90 h 239"/>
              <a:gd name="T22" fmla="*/ 48 w 433"/>
              <a:gd name="T23" fmla="*/ 94 h 239"/>
              <a:gd name="T24" fmla="*/ 57 w 433"/>
              <a:gd name="T25" fmla="*/ 101 h 239"/>
              <a:gd name="T26" fmla="*/ 63 w 433"/>
              <a:gd name="T27" fmla="*/ 112 h 239"/>
              <a:gd name="T28" fmla="*/ 73 w 433"/>
              <a:gd name="T29" fmla="*/ 125 h 239"/>
              <a:gd name="T30" fmla="*/ 88 w 433"/>
              <a:gd name="T31" fmla="*/ 140 h 239"/>
              <a:gd name="T32" fmla="*/ 116 w 433"/>
              <a:gd name="T33" fmla="*/ 154 h 239"/>
              <a:gd name="T34" fmla="*/ 142 w 433"/>
              <a:gd name="T35" fmla="*/ 161 h 239"/>
              <a:gd name="T36" fmla="*/ 157 w 433"/>
              <a:gd name="T37" fmla="*/ 167 h 239"/>
              <a:gd name="T38" fmla="*/ 178 w 433"/>
              <a:gd name="T39" fmla="*/ 182 h 239"/>
              <a:gd name="T40" fmla="*/ 203 w 433"/>
              <a:gd name="T41" fmla="*/ 195 h 239"/>
              <a:gd name="T42" fmla="*/ 218 w 433"/>
              <a:gd name="T43" fmla="*/ 196 h 239"/>
              <a:gd name="T44" fmla="*/ 231 w 433"/>
              <a:gd name="T45" fmla="*/ 195 h 239"/>
              <a:gd name="T46" fmla="*/ 247 w 433"/>
              <a:gd name="T47" fmla="*/ 197 h 239"/>
              <a:gd name="T48" fmla="*/ 265 w 433"/>
              <a:gd name="T49" fmla="*/ 209 h 239"/>
              <a:gd name="T50" fmla="*/ 291 w 433"/>
              <a:gd name="T51" fmla="*/ 218 h 239"/>
              <a:gd name="T52" fmla="*/ 318 w 433"/>
              <a:gd name="T53" fmla="*/ 222 h 239"/>
              <a:gd name="T54" fmla="*/ 333 w 433"/>
              <a:gd name="T55" fmla="*/ 225 h 239"/>
              <a:gd name="T56" fmla="*/ 347 w 433"/>
              <a:gd name="T57" fmla="*/ 232 h 239"/>
              <a:gd name="T58" fmla="*/ 360 w 433"/>
              <a:gd name="T59" fmla="*/ 236 h 239"/>
              <a:gd name="T60" fmla="*/ 376 w 433"/>
              <a:gd name="T61" fmla="*/ 237 h 239"/>
              <a:gd name="T62" fmla="*/ 390 w 433"/>
              <a:gd name="T63" fmla="*/ 239 h 239"/>
              <a:gd name="T64" fmla="*/ 419 w 433"/>
              <a:gd name="T65" fmla="*/ 236 h 239"/>
              <a:gd name="T66" fmla="*/ 433 w 433"/>
              <a:gd name="T67" fmla="*/ 236 h 239"/>
              <a:gd name="T68" fmla="*/ 433 w 433"/>
              <a:gd name="T69" fmla="*/ 222 h 239"/>
              <a:gd name="T70" fmla="*/ 430 w 433"/>
              <a:gd name="T71" fmla="*/ 209 h 239"/>
              <a:gd name="T72" fmla="*/ 426 w 433"/>
              <a:gd name="T73" fmla="*/ 202 h 239"/>
              <a:gd name="T74" fmla="*/ 422 w 433"/>
              <a:gd name="T75" fmla="*/ 195 h 239"/>
              <a:gd name="T76" fmla="*/ 419 w 433"/>
              <a:gd name="T77" fmla="*/ 182 h 239"/>
              <a:gd name="T78" fmla="*/ 404 w 433"/>
              <a:gd name="T79" fmla="*/ 173 h 239"/>
              <a:gd name="T80" fmla="*/ 390 w 433"/>
              <a:gd name="T81" fmla="*/ 168 h 239"/>
              <a:gd name="T82" fmla="*/ 372 w 433"/>
              <a:gd name="T83" fmla="*/ 162 h 239"/>
              <a:gd name="T84" fmla="*/ 344 w 433"/>
              <a:gd name="T85" fmla="*/ 156 h 239"/>
              <a:gd name="T86" fmla="*/ 318 w 433"/>
              <a:gd name="T87" fmla="*/ 155 h 239"/>
              <a:gd name="T88" fmla="*/ 304 w 433"/>
              <a:gd name="T89" fmla="*/ 154 h 239"/>
              <a:gd name="T90" fmla="*/ 289 w 433"/>
              <a:gd name="T91" fmla="*/ 140 h 239"/>
              <a:gd name="T92" fmla="*/ 275 w 433"/>
              <a:gd name="T93" fmla="*/ 140 h 239"/>
              <a:gd name="T94" fmla="*/ 267 w 433"/>
              <a:gd name="T95" fmla="*/ 133 h 239"/>
              <a:gd name="T96" fmla="*/ 261 w 433"/>
              <a:gd name="T97" fmla="*/ 125 h 239"/>
              <a:gd name="T98" fmla="*/ 252 w 433"/>
              <a:gd name="T99" fmla="*/ 117 h 239"/>
              <a:gd name="T100" fmla="*/ 245 w 433"/>
              <a:gd name="T101" fmla="*/ 109 h 239"/>
              <a:gd name="T102" fmla="*/ 230 w 433"/>
              <a:gd name="T103" fmla="*/ 98 h 239"/>
              <a:gd name="T104" fmla="*/ 209 w 433"/>
              <a:gd name="T105" fmla="*/ 87 h 239"/>
              <a:gd name="T106" fmla="*/ 188 w 433"/>
              <a:gd name="T107" fmla="*/ 77 h 239"/>
              <a:gd name="T108" fmla="*/ 175 w 433"/>
              <a:gd name="T109" fmla="*/ 72 h 239"/>
              <a:gd name="T110" fmla="*/ 145 w 433"/>
              <a:gd name="T111" fmla="*/ 62 h 239"/>
              <a:gd name="T112" fmla="*/ 117 w 433"/>
              <a:gd name="T113" fmla="*/ 47 h 239"/>
              <a:gd name="T114" fmla="*/ 73 w 433"/>
              <a:gd name="T115" fmla="*/ 27 h 239"/>
              <a:gd name="T116" fmla="*/ 53 w 433"/>
              <a:gd name="T117" fmla="*/ 13 h 239"/>
              <a:gd name="T118" fmla="*/ 42 w 433"/>
              <a:gd name="T119" fmla="*/ 3 h 239"/>
              <a:gd name="T120" fmla="*/ 38 w 433"/>
              <a:gd name="T121"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3" h="239">
                <a:moveTo>
                  <a:pt x="38" y="0"/>
                </a:moveTo>
                <a:lnTo>
                  <a:pt x="45" y="25"/>
                </a:lnTo>
                <a:lnTo>
                  <a:pt x="36" y="30"/>
                </a:lnTo>
                <a:lnTo>
                  <a:pt x="25" y="37"/>
                </a:lnTo>
                <a:lnTo>
                  <a:pt x="15" y="46"/>
                </a:lnTo>
                <a:lnTo>
                  <a:pt x="8" y="56"/>
                </a:lnTo>
                <a:lnTo>
                  <a:pt x="4" y="70"/>
                </a:lnTo>
                <a:lnTo>
                  <a:pt x="0" y="84"/>
                </a:lnTo>
                <a:lnTo>
                  <a:pt x="5" y="92"/>
                </a:lnTo>
                <a:lnTo>
                  <a:pt x="17" y="93"/>
                </a:lnTo>
                <a:lnTo>
                  <a:pt x="31" y="90"/>
                </a:lnTo>
                <a:lnTo>
                  <a:pt x="48" y="94"/>
                </a:lnTo>
                <a:lnTo>
                  <a:pt x="57" y="101"/>
                </a:lnTo>
                <a:lnTo>
                  <a:pt x="63" y="112"/>
                </a:lnTo>
                <a:lnTo>
                  <a:pt x="73" y="125"/>
                </a:lnTo>
                <a:lnTo>
                  <a:pt x="88" y="140"/>
                </a:lnTo>
                <a:lnTo>
                  <a:pt x="116" y="154"/>
                </a:lnTo>
                <a:lnTo>
                  <a:pt x="142" y="161"/>
                </a:lnTo>
                <a:lnTo>
                  <a:pt x="157" y="167"/>
                </a:lnTo>
                <a:lnTo>
                  <a:pt x="178" y="182"/>
                </a:lnTo>
                <a:lnTo>
                  <a:pt x="203" y="195"/>
                </a:lnTo>
                <a:lnTo>
                  <a:pt x="218" y="196"/>
                </a:lnTo>
                <a:lnTo>
                  <a:pt x="231" y="195"/>
                </a:lnTo>
                <a:lnTo>
                  <a:pt x="247" y="197"/>
                </a:lnTo>
                <a:lnTo>
                  <a:pt x="265" y="209"/>
                </a:lnTo>
                <a:lnTo>
                  <a:pt x="291" y="218"/>
                </a:lnTo>
                <a:lnTo>
                  <a:pt x="318" y="222"/>
                </a:lnTo>
                <a:lnTo>
                  <a:pt x="333" y="225"/>
                </a:lnTo>
                <a:lnTo>
                  <a:pt x="347" y="232"/>
                </a:lnTo>
                <a:lnTo>
                  <a:pt x="360" y="236"/>
                </a:lnTo>
                <a:lnTo>
                  <a:pt x="376" y="237"/>
                </a:lnTo>
                <a:lnTo>
                  <a:pt x="390" y="239"/>
                </a:lnTo>
                <a:lnTo>
                  <a:pt x="419" y="236"/>
                </a:lnTo>
                <a:lnTo>
                  <a:pt x="433" y="236"/>
                </a:lnTo>
                <a:lnTo>
                  <a:pt x="433" y="222"/>
                </a:lnTo>
                <a:lnTo>
                  <a:pt x="430" y="209"/>
                </a:lnTo>
                <a:lnTo>
                  <a:pt x="426" y="202"/>
                </a:lnTo>
                <a:lnTo>
                  <a:pt x="422" y="195"/>
                </a:lnTo>
                <a:lnTo>
                  <a:pt x="419" y="182"/>
                </a:lnTo>
                <a:lnTo>
                  <a:pt x="404" y="173"/>
                </a:lnTo>
                <a:lnTo>
                  <a:pt x="390" y="168"/>
                </a:lnTo>
                <a:lnTo>
                  <a:pt x="372" y="162"/>
                </a:lnTo>
                <a:lnTo>
                  <a:pt x="344" y="156"/>
                </a:lnTo>
                <a:lnTo>
                  <a:pt x="318" y="155"/>
                </a:lnTo>
                <a:lnTo>
                  <a:pt x="304" y="154"/>
                </a:lnTo>
                <a:lnTo>
                  <a:pt x="289" y="140"/>
                </a:lnTo>
                <a:lnTo>
                  <a:pt x="275" y="140"/>
                </a:lnTo>
                <a:lnTo>
                  <a:pt x="267" y="133"/>
                </a:lnTo>
                <a:lnTo>
                  <a:pt x="261" y="125"/>
                </a:lnTo>
                <a:lnTo>
                  <a:pt x="252" y="117"/>
                </a:lnTo>
                <a:lnTo>
                  <a:pt x="245" y="109"/>
                </a:lnTo>
                <a:lnTo>
                  <a:pt x="230" y="98"/>
                </a:lnTo>
                <a:lnTo>
                  <a:pt x="209" y="87"/>
                </a:lnTo>
                <a:lnTo>
                  <a:pt x="188" y="77"/>
                </a:lnTo>
                <a:lnTo>
                  <a:pt x="175" y="72"/>
                </a:lnTo>
                <a:lnTo>
                  <a:pt x="145" y="62"/>
                </a:lnTo>
                <a:lnTo>
                  <a:pt x="117" y="47"/>
                </a:lnTo>
                <a:lnTo>
                  <a:pt x="73" y="27"/>
                </a:lnTo>
                <a:lnTo>
                  <a:pt x="53" y="13"/>
                </a:lnTo>
                <a:lnTo>
                  <a:pt x="42" y="3"/>
                </a:lnTo>
                <a:lnTo>
                  <a:pt x="38" y="0"/>
                </a:lnTo>
              </a:path>
            </a:pathLst>
          </a:custGeom>
          <a:noFill/>
          <a:ln w="9525" cap="rnd">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sp>
        <p:nvSpPr>
          <p:cNvPr id="104" name="Rectangle 104">
            <a:extLst>
              <a:ext uri="{FF2B5EF4-FFF2-40B4-BE49-F238E27FC236}">
                <a16:creationId xmlns:a16="http://schemas.microsoft.com/office/drawing/2014/main" id="{B72EA76F-6952-418D-B354-54D98C06593C}"/>
              </a:ext>
            </a:extLst>
          </p:cNvPr>
          <p:cNvSpPr>
            <a:spLocks noChangeArrowheads="1"/>
          </p:cNvSpPr>
          <p:nvPr>
            <p:custDataLst>
              <p:tags r:id="rId95"/>
            </p:custDataLst>
          </p:nvPr>
        </p:nvSpPr>
        <p:spPr bwMode="auto">
          <a:xfrm>
            <a:off x="9666171" y="3315421"/>
            <a:ext cx="551417"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b="1" dirty="0">
                <a:solidFill>
                  <a:schemeClr val="bg1"/>
                </a:solidFill>
                <a:effectLst>
                  <a:glow rad="101600">
                    <a:schemeClr val="accent6">
                      <a:satMod val="175000"/>
                      <a:alpha val="40000"/>
                    </a:schemeClr>
                  </a:glow>
                  <a:outerShdw blurRad="38100" dist="38100" dir="2700000" algn="tl">
                    <a:srgbClr val="000000">
                      <a:alpha val="43137"/>
                    </a:srgbClr>
                  </a:outerShdw>
                </a:effectLst>
                <a:latin typeface="+mn-lt"/>
              </a:rPr>
              <a:t>Hong Kong</a:t>
            </a:r>
          </a:p>
        </p:txBody>
      </p:sp>
      <p:sp>
        <p:nvSpPr>
          <p:cNvPr id="105" name="Rectangle 105">
            <a:extLst>
              <a:ext uri="{FF2B5EF4-FFF2-40B4-BE49-F238E27FC236}">
                <a16:creationId xmlns:a16="http://schemas.microsoft.com/office/drawing/2014/main" id="{19874513-DBCA-4BBA-9EA7-5CC8F3CDAD59}"/>
              </a:ext>
            </a:extLst>
          </p:cNvPr>
          <p:cNvSpPr>
            <a:spLocks noChangeArrowheads="1"/>
          </p:cNvSpPr>
          <p:nvPr>
            <p:custDataLst>
              <p:tags r:id="rId96"/>
            </p:custDataLst>
          </p:nvPr>
        </p:nvSpPr>
        <p:spPr bwMode="auto">
          <a:xfrm>
            <a:off x="10307501" y="1513661"/>
            <a:ext cx="418372"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b="1" dirty="0">
                <a:solidFill>
                  <a:schemeClr val="bg1"/>
                </a:solidFill>
                <a:effectLst>
                  <a:glow rad="101600">
                    <a:schemeClr val="accent6">
                      <a:satMod val="175000"/>
                      <a:alpha val="40000"/>
                    </a:schemeClr>
                  </a:glow>
                  <a:outerShdw blurRad="38100" dist="38100" dir="2700000" algn="tl">
                    <a:srgbClr val="000000">
                      <a:alpha val="43137"/>
                    </a:srgbClr>
                  </a:outerShdw>
                </a:effectLst>
                <a:latin typeface="+mn-lt"/>
              </a:rPr>
              <a:t>S. Korea</a:t>
            </a:r>
          </a:p>
        </p:txBody>
      </p:sp>
      <p:sp>
        <p:nvSpPr>
          <p:cNvPr id="106" name="Rectangle 106">
            <a:extLst>
              <a:ext uri="{FF2B5EF4-FFF2-40B4-BE49-F238E27FC236}">
                <a16:creationId xmlns:a16="http://schemas.microsoft.com/office/drawing/2014/main" id="{BEFABA1B-FA7D-429E-BD65-6422BCDE976C}"/>
              </a:ext>
            </a:extLst>
          </p:cNvPr>
          <p:cNvSpPr>
            <a:spLocks noChangeArrowheads="1"/>
          </p:cNvSpPr>
          <p:nvPr>
            <p:custDataLst>
              <p:tags r:id="rId97"/>
            </p:custDataLst>
          </p:nvPr>
        </p:nvSpPr>
        <p:spPr bwMode="auto">
          <a:xfrm>
            <a:off x="6700379" y="4536663"/>
            <a:ext cx="469887" cy="112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b="1" dirty="0">
                <a:solidFill>
                  <a:schemeClr val="bg1"/>
                </a:solidFill>
                <a:effectLst>
                  <a:glow rad="101600">
                    <a:schemeClr val="accent6">
                      <a:satMod val="175000"/>
                      <a:alpha val="40000"/>
                    </a:schemeClr>
                  </a:glow>
                  <a:outerShdw blurRad="38100" dist="38100" dir="2700000" algn="tl">
                    <a:srgbClr val="000000">
                      <a:alpha val="43137"/>
                    </a:srgbClr>
                  </a:outerShdw>
                </a:effectLst>
                <a:latin typeface="+mn-lt"/>
              </a:rPr>
              <a:t>Sri Lanka</a:t>
            </a:r>
          </a:p>
        </p:txBody>
      </p:sp>
      <p:sp>
        <p:nvSpPr>
          <p:cNvPr id="107" name="Rectangle 107">
            <a:extLst>
              <a:ext uri="{FF2B5EF4-FFF2-40B4-BE49-F238E27FC236}">
                <a16:creationId xmlns:a16="http://schemas.microsoft.com/office/drawing/2014/main" id="{FBA9016E-0D92-40C7-9FEB-860DBE4747F1}"/>
              </a:ext>
            </a:extLst>
          </p:cNvPr>
          <p:cNvSpPr>
            <a:spLocks noChangeArrowheads="1"/>
          </p:cNvSpPr>
          <p:nvPr>
            <p:custDataLst>
              <p:tags r:id="rId98"/>
            </p:custDataLst>
          </p:nvPr>
        </p:nvSpPr>
        <p:spPr bwMode="auto">
          <a:xfrm>
            <a:off x="8407320" y="3918655"/>
            <a:ext cx="428612" cy="111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b="1" dirty="0">
                <a:solidFill>
                  <a:srgbClr val="FFFFFF"/>
                </a:solidFill>
                <a:latin typeface="+mn-lt"/>
              </a:rPr>
              <a:t>Thailand</a:t>
            </a:r>
          </a:p>
        </p:txBody>
      </p:sp>
      <p:sp>
        <p:nvSpPr>
          <p:cNvPr id="108" name="Rectangle 108">
            <a:extLst>
              <a:ext uri="{FF2B5EF4-FFF2-40B4-BE49-F238E27FC236}">
                <a16:creationId xmlns:a16="http://schemas.microsoft.com/office/drawing/2014/main" id="{CB4386EF-AF46-4CA1-9464-AAB0B33BD872}"/>
              </a:ext>
            </a:extLst>
          </p:cNvPr>
          <p:cNvSpPr>
            <a:spLocks noChangeArrowheads="1"/>
          </p:cNvSpPr>
          <p:nvPr>
            <p:custDataLst>
              <p:tags r:id="rId99"/>
            </p:custDataLst>
          </p:nvPr>
        </p:nvSpPr>
        <p:spPr bwMode="auto">
          <a:xfrm>
            <a:off x="9196286" y="5726766"/>
            <a:ext cx="485760" cy="111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b="1" dirty="0">
                <a:solidFill>
                  <a:schemeClr val="bg1"/>
                </a:solidFill>
                <a:effectLst>
                  <a:glow rad="101600">
                    <a:schemeClr val="accent6">
                      <a:satMod val="175000"/>
                      <a:alpha val="40000"/>
                    </a:schemeClr>
                  </a:glow>
                  <a:outerShdw blurRad="38100" dist="38100" dir="2700000" algn="tl">
                    <a:srgbClr val="000000">
                      <a:alpha val="43137"/>
                    </a:srgbClr>
                  </a:outerShdw>
                </a:effectLst>
                <a:latin typeface="+mn-lt"/>
              </a:rPr>
              <a:t>Indonesia</a:t>
            </a:r>
          </a:p>
        </p:txBody>
      </p:sp>
      <p:sp>
        <p:nvSpPr>
          <p:cNvPr id="109" name="Rectangle 109">
            <a:extLst>
              <a:ext uri="{FF2B5EF4-FFF2-40B4-BE49-F238E27FC236}">
                <a16:creationId xmlns:a16="http://schemas.microsoft.com/office/drawing/2014/main" id="{540417BB-1961-4834-9706-C12AA02B47AE}"/>
              </a:ext>
            </a:extLst>
          </p:cNvPr>
          <p:cNvSpPr>
            <a:spLocks noChangeArrowheads="1"/>
          </p:cNvSpPr>
          <p:nvPr>
            <p:custDataLst>
              <p:tags r:id="rId100"/>
            </p:custDataLst>
          </p:nvPr>
        </p:nvSpPr>
        <p:spPr bwMode="auto">
          <a:xfrm>
            <a:off x="6511897" y="3290021"/>
            <a:ext cx="240443"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b="1" dirty="0">
                <a:solidFill>
                  <a:schemeClr val="bg1"/>
                </a:solidFill>
                <a:effectLst>
                  <a:glow rad="101600">
                    <a:schemeClr val="accent6">
                      <a:satMod val="175000"/>
                      <a:alpha val="40000"/>
                    </a:schemeClr>
                  </a:glow>
                  <a:outerShdw blurRad="38100" dist="38100" dir="2700000" algn="tl">
                    <a:srgbClr val="000000">
                      <a:alpha val="43137"/>
                    </a:srgbClr>
                  </a:outerShdw>
                </a:effectLst>
                <a:latin typeface="+mn-lt"/>
              </a:rPr>
              <a:t>India</a:t>
            </a:r>
          </a:p>
        </p:txBody>
      </p:sp>
      <p:sp>
        <p:nvSpPr>
          <p:cNvPr id="110" name="Rectangle 110">
            <a:extLst>
              <a:ext uri="{FF2B5EF4-FFF2-40B4-BE49-F238E27FC236}">
                <a16:creationId xmlns:a16="http://schemas.microsoft.com/office/drawing/2014/main" id="{ED097AB5-427E-4450-BA8D-6FDCEE8E0F6F}"/>
              </a:ext>
            </a:extLst>
          </p:cNvPr>
          <p:cNvSpPr>
            <a:spLocks noChangeArrowheads="1"/>
          </p:cNvSpPr>
          <p:nvPr>
            <p:custDataLst>
              <p:tags r:id="rId101"/>
            </p:custDataLst>
          </p:nvPr>
        </p:nvSpPr>
        <p:spPr bwMode="auto">
          <a:xfrm>
            <a:off x="7835835" y="2101019"/>
            <a:ext cx="697626" cy="221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b="1" dirty="0">
                <a:solidFill>
                  <a:schemeClr val="bg1"/>
                </a:solidFill>
                <a:effectLst>
                  <a:glow rad="101600">
                    <a:schemeClr val="accent6">
                      <a:satMod val="175000"/>
                      <a:alpha val="40000"/>
                    </a:schemeClr>
                  </a:glow>
                  <a:outerShdw blurRad="38100" dist="38100" dir="2700000" algn="tl">
                    <a:srgbClr val="000000">
                      <a:alpha val="43137"/>
                    </a:srgbClr>
                  </a:outerShdw>
                </a:effectLst>
                <a:latin typeface="+mn-lt"/>
              </a:rPr>
              <a:t>Chinese Mainland</a:t>
            </a:r>
          </a:p>
        </p:txBody>
      </p:sp>
      <p:sp>
        <p:nvSpPr>
          <p:cNvPr id="111" name="Rectangle 111">
            <a:extLst>
              <a:ext uri="{FF2B5EF4-FFF2-40B4-BE49-F238E27FC236}">
                <a16:creationId xmlns:a16="http://schemas.microsoft.com/office/drawing/2014/main" id="{6CB07F8A-712D-45FB-9FD0-B8EDCDD56BB3}"/>
              </a:ext>
            </a:extLst>
          </p:cNvPr>
          <p:cNvSpPr>
            <a:spLocks noChangeArrowheads="1"/>
          </p:cNvSpPr>
          <p:nvPr>
            <p:custDataLst>
              <p:tags r:id="rId102"/>
            </p:custDataLst>
          </p:nvPr>
        </p:nvSpPr>
        <p:spPr bwMode="auto">
          <a:xfrm>
            <a:off x="7346900" y="3199539"/>
            <a:ext cx="588946" cy="111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b="1" dirty="0">
                <a:solidFill>
                  <a:schemeClr val="bg1"/>
                </a:solidFill>
                <a:effectLst>
                  <a:glow rad="101600">
                    <a:schemeClr val="accent6">
                      <a:satMod val="175000"/>
                      <a:alpha val="40000"/>
                    </a:schemeClr>
                  </a:glow>
                  <a:outerShdw blurRad="38100" dist="38100" dir="2700000" algn="tl">
                    <a:srgbClr val="000000">
                      <a:alpha val="43137"/>
                    </a:srgbClr>
                  </a:outerShdw>
                </a:effectLst>
                <a:latin typeface="+mn-lt"/>
              </a:rPr>
              <a:t>Bangladesh</a:t>
            </a:r>
          </a:p>
        </p:txBody>
      </p:sp>
      <p:grpSp>
        <p:nvGrpSpPr>
          <p:cNvPr id="112" name="Group 112">
            <a:extLst>
              <a:ext uri="{FF2B5EF4-FFF2-40B4-BE49-F238E27FC236}">
                <a16:creationId xmlns:a16="http://schemas.microsoft.com/office/drawing/2014/main" id="{D5DDB505-C386-4936-A254-BB3FE3C70C18}"/>
              </a:ext>
            </a:extLst>
          </p:cNvPr>
          <p:cNvGrpSpPr>
            <a:grpSpLocks/>
          </p:cNvGrpSpPr>
          <p:nvPr>
            <p:custDataLst>
              <p:tags r:id="rId103"/>
            </p:custDataLst>
          </p:nvPr>
        </p:nvGrpSpPr>
        <p:grpSpPr bwMode="auto">
          <a:xfrm rot="120000">
            <a:off x="9682044" y="5891859"/>
            <a:ext cx="61910" cy="55561"/>
            <a:chOff x="3296" y="3810"/>
            <a:chExt cx="37" cy="34"/>
          </a:xfrm>
        </p:grpSpPr>
        <p:sp>
          <p:nvSpPr>
            <p:cNvPr id="113" name="Freeform 113">
              <a:extLst>
                <a:ext uri="{FF2B5EF4-FFF2-40B4-BE49-F238E27FC236}">
                  <a16:creationId xmlns:a16="http://schemas.microsoft.com/office/drawing/2014/main" id="{E3ACC9A4-7685-404F-9FB1-EC0D811CD3B1}"/>
                </a:ext>
              </a:extLst>
            </p:cNvPr>
            <p:cNvSpPr>
              <a:spLocks/>
            </p:cNvSpPr>
            <p:nvPr/>
          </p:nvSpPr>
          <p:spPr bwMode="auto">
            <a:xfrm>
              <a:off x="3296" y="3810"/>
              <a:ext cx="37" cy="34"/>
            </a:xfrm>
            <a:custGeom>
              <a:avLst/>
              <a:gdLst>
                <a:gd name="T0" fmla="*/ 37 w 37"/>
                <a:gd name="T1" fmla="*/ 17 h 34"/>
                <a:gd name="T2" fmla="*/ 32 w 37"/>
                <a:gd name="T3" fmla="*/ 5 h 34"/>
                <a:gd name="T4" fmla="*/ 19 w 37"/>
                <a:gd name="T5" fmla="*/ 0 h 34"/>
                <a:gd name="T6" fmla="*/ 5 w 37"/>
                <a:gd name="T7" fmla="*/ 5 h 34"/>
                <a:gd name="T8" fmla="*/ 0 w 37"/>
                <a:gd name="T9" fmla="*/ 17 h 34"/>
                <a:gd name="T10" fmla="*/ 5 w 37"/>
                <a:gd name="T11" fmla="*/ 29 h 34"/>
                <a:gd name="T12" fmla="*/ 19 w 37"/>
                <a:gd name="T13" fmla="*/ 34 h 34"/>
                <a:gd name="T14" fmla="*/ 32 w 37"/>
                <a:gd name="T15" fmla="*/ 29 h 34"/>
                <a:gd name="T16" fmla="*/ 37 w 37"/>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4">
                  <a:moveTo>
                    <a:pt x="37" y="17"/>
                  </a:moveTo>
                  <a:lnTo>
                    <a:pt x="32" y="5"/>
                  </a:lnTo>
                  <a:lnTo>
                    <a:pt x="19" y="0"/>
                  </a:lnTo>
                  <a:lnTo>
                    <a:pt x="5" y="5"/>
                  </a:lnTo>
                  <a:lnTo>
                    <a:pt x="0" y="17"/>
                  </a:lnTo>
                  <a:lnTo>
                    <a:pt x="5" y="29"/>
                  </a:lnTo>
                  <a:lnTo>
                    <a:pt x="19" y="34"/>
                  </a:lnTo>
                  <a:lnTo>
                    <a:pt x="32" y="29"/>
                  </a:lnTo>
                  <a:lnTo>
                    <a:pt x="37" y="17"/>
                  </a:lnTo>
                  <a:close/>
                </a:path>
              </a:pathLst>
            </a:custGeom>
            <a:solidFill>
              <a:srgbClr val="0000FF"/>
            </a:solidFill>
            <a:ln w="9525">
              <a:solidFill>
                <a:srgbClr val="0000FF"/>
              </a:solidFill>
              <a:round/>
              <a:headEnd/>
              <a:tailEnd/>
            </a:ln>
          </p:spPr>
          <p:txBody>
            <a:bodyPr/>
            <a:lstStyle/>
            <a:p>
              <a:pPr defTabSz="609539"/>
              <a:endParaRPr lang="en-US" sz="2399">
                <a:solidFill>
                  <a:srgbClr val="000000"/>
                </a:solidFill>
              </a:endParaRPr>
            </a:p>
          </p:txBody>
        </p:sp>
        <p:sp>
          <p:nvSpPr>
            <p:cNvPr id="114" name="Freeform 114">
              <a:extLst>
                <a:ext uri="{FF2B5EF4-FFF2-40B4-BE49-F238E27FC236}">
                  <a16:creationId xmlns:a16="http://schemas.microsoft.com/office/drawing/2014/main" id="{D632BE52-1D62-4845-B14F-BD0F1A4D7553}"/>
                </a:ext>
              </a:extLst>
            </p:cNvPr>
            <p:cNvSpPr>
              <a:spLocks/>
            </p:cNvSpPr>
            <p:nvPr/>
          </p:nvSpPr>
          <p:spPr bwMode="auto">
            <a:xfrm>
              <a:off x="3296" y="3810"/>
              <a:ext cx="37" cy="34"/>
            </a:xfrm>
            <a:custGeom>
              <a:avLst/>
              <a:gdLst>
                <a:gd name="T0" fmla="*/ 37 w 37"/>
                <a:gd name="T1" fmla="*/ 17 h 34"/>
                <a:gd name="T2" fmla="*/ 32 w 37"/>
                <a:gd name="T3" fmla="*/ 5 h 34"/>
                <a:gd name="T4" fmla="*/ 19 w 37"/>
                <a:gd name="T5" fmla="*/ 0 h 34"/>
                <a:gd name="T6" fmla="*/ 5 w 37"/>
                <a:gd name="T7" fmla="*/ 5 h 34"/>
                <a:gd name="T8" fmla="*/ 0 w 37"/>
                <a:gd name="T9" fmla="*/ 17 h 34"/>
                <a:gd name="T10" fmla="*/ 5 w 37"/>
                <a:gd name="T11" fmla="*/ 29 h 34"/>
                <a:gd name="T12" fmla="*/ 19 w 37"/>
                <a:gd name="T13" fmla="*/ 34 h 34"/>
                <a:gd name="T14" fmla="*/ 32 w 37"/>
                <a:gd name="T15" fmla="*/ 29 h 34"/>
                <a:gd name="T16" fmla="*/ 37 w 37"/>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4">
                  <a:moveTo>
                    <a:pt x="37" y="17"/>
                  </a:moveTo>
                  <a:lnTo>
                    <a:pt x="32" y="5"/>
                  </a:lnTo>
                  <a:lnTo>
                    <a:pt x="19" y="0"/>
                  </a:lnTo>
                  <a:lnTo>
                    <a:pt x="5" y="5"/>
                  </a:lnTo>
                  <a:lnTo>
                    <a:pt x="0" y="17"/>
                  </a:lnTo>
                  <a:lnTo>
                    <a:pt x="5" y="29"/>
                  </a:lnTo>
                  <a:lnTo>
                    <a:pt x="19" y="34"/>
                  </a:lnTo>
                  <a:lnTo>
                    <a:pt x="32" y="29"/>
                  </a:lnTo>
                  <a:lnTo>
                    <a:pt x="37" y="17"/>
                  </a:lnTo>
                  <a:close/>
                </a:path>
              </a:pathLst>
            </a:custGeom>
            <a:solidFill>
              <a:srgbClr val="0000FF"/>
            </a:solidFill>
            <a:ln w="1588" cap="rnd">
              <a:solidFill>
                <a:srgbClr val="0000FF"/>
              </a:solidFill>
              <a:prstDash val="solid"/>
              <a:round/>
              <a:headEnd/>
              <a:tailEnd/>
            </a:ln>
          </p:spPr>
          <p:txBody>
            <a:bodyPr/>
            <a:lstStyle/>
            <a:p>
              <a:pPr defTabSz="609539"/>
              <a:endParaRPr lang="en-US" sz="2399">
                <a:solidFill>
                  <a:srgbClr val="000000"/>
                </a:solidFill>
              </a:endParaRPr>
            </a:p>
          </p:txBody>
        </p:sp>
      </p:grpSp>
      <p:grpSp>
        <p:nvGrpSpPr>
          <p:cNvPr id="115" name="Group 115">
            <a:extLst>
              <a:ext uri="{FF2B5EF4-FFF2-40B4-BE49-F238E27FC236}">
                <a16:creationId xmlns:a16="http://schemas.microsoft.com/office/drawing/2014/main" id="{7FFFC0BE-9D72-44B7-8897-F0CF19673F05}"/>
              </a:ext>
            </a:extLst>
          </p:cNvPr>
          <p:cNvGrpSpPr>
            <a:grpSpLocks/>
          </p:cNvGrpSpPr>
          <p:nvPr>
            <p:custDataLst>
              <p:tags r:id="rId104"/>
            </p:custDataLst>
          </p:nvPr>
        </p:nvGrpSpPr>
        <p:grpSpPr bwMode="auto">
          <a:xfrm rot="120000">
            <a:off x="9288356" y="5909322"/>
            <a:ext cx="63498" cy="57148"/>
            <a:chOff x="3113" y="3807"/>
            <a:chExt cx="38" cy="34"/>
          </a:xfrm>
        </p:grpSpPr>
        <p:sp>
          <p:nvSpPr>
            <p:cNvPr id="116" name="Freeform 116">
              <a:extLst>
                <a:ext uri="{FF2B5EF4-FFF2-40B4-BE49-F238E27FC236}">
                  <a16:creationId xmlns:a16="http://schemas.microsoft.com/office/drawing/2014/main" id="{36A430C2-FDD6-4B8B-AAFC-A08945031B9A}"/>
                </a:ext>
              </a:extLst>
            </p:cNvPr>
            <p:cNvSpPr>
              <a:spLocks/>
            </p:cNvSpPr>
            <p:nvPr/>
          </p:nvSpPr>
          <p:spPr bwMode="auto">
            <a:xfrm>
              <a:off x="3113" y="3807"/>
              <a:ext cx="38" cy="34"/>
            </a:xfrm>
            <a:custGeom>
              <a:avLst/>
              <a:gdLst>
                <a:gd name="T0" fmla="*/ 38 w 38"/>
                <a:gd name="T1" fmla="*/ 17 h 34"/>
                <a:gd name="T2" fmla="*/ 32 w 38"/>
                <a:gd name="T3" fmla="*/ 5 h 34"/>
                <a:gd name="T4" fmla="*/ 19 w 38"/>
                <a:gd name="T5" fmla="*/ 0 h 34"/>
                <a:gd name="T6" fmla="*/ 6 w 38"/>
                <a:gd name="T7" fmla="*/ 5 h 34"/>
                <a:gd name="T8" fmla="*/ 0 w 38"/>
                <a:gd name="T9" fmla="*/ 17 h 34"/>
                <a:gd name="T10" fmla="*/ 6 w 38"/>
                <a:gd name="T11" fmla="*/ 29 h 34"/>
                <a:gd name="T12" fmla="*/ 19 w 38"/>
                <a:gd name="T13" fmla="*/ 34 h 34"/>
                <a:gd name="T14" fmla="*/ 32 w 38"/>
                <a:gd name="T15" fmla="*/ 29 h 34"/>
                <a:gd name="T16" fmla="*/ 38 w 38"/>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4">
                  <a:moveTo>
                    <a:pt x="38" y="17"/>
                  </a:moveTo>
                  <a:lnTo>
                    <a:pt x="32" y="5"/>
                  </a:lnTo>
                  <a:lnTo>
                    <a:pt x="19" y="0"/>
                  </a:lnTo>
                  <a:lnTo>
                    <a:pt x="6" y="5"/>
                  </a:lnTo>
                  <a:lnTo>
                    <a:pt x="0" y="17"/>
                  </a:lnTo>
                  <a:lnTo>
                    <a:pt x="6" y="29"/>
                  </a:lnTo>
                  <a:lnTo>
                    <a:pt x="19" y="34"/>
                  </a:lnTo>
                  <a:lnTo>
                    <a:pt x="32" y="29"/>
                  </a:lnTo>
                  <a:lnTo>
                    <a:pt x="38" y="17"/>
                  </a:lnTo>
                  <a:close/>
                </a:path>
              </a:pathLst>
            </a:custGeom>
            <a:solidFill>
              <a:srgbClr val="0000FF"/>
            </a:solidFill>
            <a:ln w="9525">
              <a:solidFill>
                <a:srgbClr val="0000FF"/>
              </a:solidFill>
              <a:round/>
              <a:headEnd/>
              <a:tailEnd/>
            </a:ln>
          </p:spPr>
          <p:txBody>
            <a:bodyPr/>
            <a:lstStyle/>
            <a:p>
              <a:pPr defTabSz="609539"/>
              <a:endParaRPr lang="en-US" sz="2399">
                <a:solidFill>
                  <a:srgbClr val="000000"/>
                </a:solidFill>
              </a:endParaRPr>
            </a:p>
          </p:txBody>
        </p:sp>
        <p:sp>
          <p:nvSpPr>
            <p:cNvPr id="117" name="Freeform 117">
              <a:extLst>
                <a:ext uri="{FF2B5EF4-FFF2-40B4-BE49-F238E27FC236}">
                  <a16:creationId xmlns:a16="http://schemas.microsoft.com/office/drawing/2014/main" id="{EAEA5187-951E-4808-8C8D-38FA6853D648}"/>
                </a:ext>
              </a:extLst>
            </p:cNvPr>
            <p:cNvSpPr>
              <a:spLocks/>
            </p:cNvSpPr>
            <p:nvPr/>
          </p:nvSpPr>
          <p:spPr bwMode="auto">
            <a:xfrm>
              <a:off x="3113" y="3807"/>
              <a:ext cx="38" cy="34"/>
            </a:xfrm>
            <a:custGeom>
              <a:avLst/>
              <a:gdLst>
                <a:gd name="T0" fmla="*/ 38 w 38"/>
                <a:gd name="T1" fmla="*/ 17 h 34"/>
                <a:gd name="T2" fmla="*/ 32 w 38"/>
                <a:gd name="T3" fmla="*/ 5 h 34"/>
                <a:gd name="T4" fmla="*/ 19 w 38"/>
                <a:gd name="T5" fmla="*/ 0 h 34"/>
                <a:gd name="T6" fmla="*/ 6 w 38"/>
                <a:gd name="T7" fmla="*/ 5 h 34"/>
                <a:gd name="T8" fmla="*/ 0 w 38"/>
                <a:gd name="T9" fmla="*/ 17 h 34"/>
                <a:gd name="T10" fmla="*/ 6 w 38"/>
                <a:gd name="T11" fmla="*/ 29 h 34"/>
                <a:gd name="T12" fmla="*/ 19 w 38"/>
                <a:gd name="T13" fmla="*/ 34 h 34"/>
                <a:gd name="T14" fmla="*/ 32 w 38"/>
                <a:gd name="T15" fmla="*/ 29 h 34"/>
                <a:gd name="T16" fmla="*/ 38 w 38"/>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4">
                  <a:moveTo>
                    <a:pt x="38" y="17"/>
                  </a:moveTo>
                  <a:lnTo>
                    <a:pt x="32" y="5"/>
                  </a:lnTo>
                  <a:lnTo>
                    <a:pt x="19" y="0"/>
                  </a:lnTo>
                  <a:lnTo>
                    <a:pt x="6" y="5"/>
                  </a:lnTo>
                  <a:lnTo>
                    <a:pt x="0" y="17"/>
                  </a:lnTo>
                  <a:lnTo>
                    <a:pt x="6" y="29"/>
                  </a:lnTo>
                  <a:lnTo>
                    <a:pt x="19" y="34"/>
                  </a:lnTo>
                  <a:lnTo>
                    <a:pt x="32" y="29"/>
                  </a:lnTo>
                  <a:lnTo>
                    <a:pt x="38" y="17"/>
                  </a:lnTo>
                  <a:close/>
                </a:path>
              </a:pathLst>
            </a:custGeom>
            <a:solidFill>
              <a:srgbClr val="0000FF"/>
            </a:solidFill>
            <a:ln w="1588" cap="rnd">
              <a:solidFill>
                <a:srgbClr val="0000FF"/>
              </a:solidFill>
              <a:prstDash val="solid"/>
              <a:round/>
              <a:headEnd/>
              <a:tailEnd/>
            </a:ln>
          </p:spPr>
          <p:txBody>
            <a:bodyPr/>
            <a:lstStyle/>
            <a:p>
              <a:pPr defTabSz="609539"/>
              <a:endParaRPr lang="en-US" sz="2399">
                <a:solidFill>
                  <a:srgbClr val="000000"/>
                </a:solidFill>
              </a:endParaRPr>
            </a:p>
          </p:txBody>
        </p:sp>
      </p:grpSp>
      <p:grpSp>
        <p:nvGrpSpPr>
          <p:cNvPr id="118" name="Group 118">
            <a:extLst>
              <a:ext uri="{FF2B5EF4-FFF2-40B4-BE49-F238E27FC236}">
                <a16:creationId xmlns:a16="http://schemas.microsoft.com/office/drawing/2014/main" id="{9295029B-A774-4D0F-9CF4-274D44A03C36}"/>
              </a:ext>
            </a:extLst>
          </p:cNvPr>
          <p:cNvGrpSpPr>
            <a:grpSpLocks/>
          </p:cNvGrpSpPr>
          <p:nvPr>
            <p:custDataLst>
              <p:tags r:id="rId105"/>
            </p:custDataLst>
          </p:nvPr>
        </p:nvGrpSpPr>
        <p:grpSpPr bwMode="auto">
          <a:xfrm rot="120000">
            <a:off x="8816883" y="5204490"/>
            <a:ext cx="60323" cy="58737"/>
            <a:chOff x="2808" y="3385"/>
            <a:chExt cx="37" cy="35"/>
          </a:xfrm>
        </p:grpSpPr>
        <p:sp>
          <p:nvSpPr>
            <p:cNvPr id="119" name="Freeform 119">
              <a:extLst>
                <a:ext uri="{FF2B5EF4-FFF2-40B4-BE49-F238E27FC236}">
                  <a16:creationId xmlns:a16="http://schemas.microsoft.com/office/drawing/2014/main" id="{4A72B179-17DC-44DC-81E2-E31B3AF12375}"/>
                </a:ext>
              </a:extLst>
            </p:cNvPr>
            <p:cNvSpPr>
              <a:spLocks/>
            </p:cNvSpPr>
            <p:nvPr/>
          </p:nvSpPr>
          <p:spPr bwMode="auto">
            <a:xfrm>
              <a:off x="2808" y="3385"/>
              <a:ext cx="37" cy="35"/>
            </a:xfrm>
            <a:custGeom>
              <a:avLst/>
              <a:gdLst>
                <a:gd name="T0" fmla="*/ 37 w 37"/>
                <a:gd name="T1" fmla="*/ 18 h 35"/>
                <a:gd name="T2" fmla="*/ 32 w 37"/>
                <a:gd name="T3" fmla="*/ 5 h 35"/>
                <a:gd name="T4" fmla="*/ 18 w 37"/>
                <a:gd name="T5" fmla="*/ 0 h 35"/>
                <a:gd name="T6" fmla="*/ 5 w 37"/>
                <a:gd name="T7" fmla="*/ 5 h 35"/>
                <a:gd name="T8" fmla="*/ 0 w 37"/>
                <a:gd name="T9" fmla="*/ 18 h 35"/>
                <a:gd name="T10" fmla="*/ 5 w 37"/>
                <a:gd name="T11" fmla="*/ 30 h 35"/>
                <a:gd name="T12" fmla="*/ 18 w 37"/>
                <a:gd name="T13" fmla="*/ 35 h 35"/>
                <a:gd name="T14" fmla="*/ 32 w 37"/>
                <a:gd name="T15" fmla="*/ 30 h 35"/>
                <a:gd name="T16" fmla="*/ 37 w 37"/>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5">
                  <a:moveTo>
                    <a:pt x="37" y="18"/>
                  </a:moveTo>
                  <a:lnTo>
                    <a:pt x="32" y="5"/>
                  </a:lnTo>
                  <a:lnTo>
                    <a:pt x="18" y="0"/>
                  </a:lnTo>
                  <a:lnTo>
                    <a:pt x="5" y="5"/>
                  </a:lnTo>
                  <a:lnTo>
                    <a:pt x="0" y="18"/>
                  </a:lnTo>
                  <a:lnTo>
                    <a:pt x="5" y="30"/>
                  </a:lnTo>
                  <a:lnTo>
                    <a:pt x="18" y="35"/>
                  </a:lnTo>
                  <a:lnTo>
                    <a:pt x="32" y="30"/>
                  </a:lnTo>
                  <a:lnTo>
                    <a:pt x="37"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39"/>
              <a:endParaRPr lang="en-US" sz="2399">
                <a:solidFill>
                  <a:srgbClr val="000000"/>
                </a:solidFill>
              </a:endParaRPr>
            </a:p>
          </p:txBody>
        </p:sp>
        <p:sp>
          <p:nvSpPr>
            <p:cNvPr id="120" name="Freeform 120">
              <a:extLst>
                <a:ext uri="{FF2B5EF4-FFF2-40B4-BE49-F238E27FC236}">
                  <a16:creationId xmlns:a16="http://schemas.microsoft.com/office/drawing/2014/main" id="{A3080E5D-2F12-4150-A4AD-ACBB749BE96D}"/>
                </a:ext>
              </a:extLst>
            </p:cNvPr>
            <p:cNvSpPr>
              <a:spLocks/>
            </p:cNvSpPr>
            <p:nvPr/>
          </p:nvSpPr>
          <p:spPr bwMode="auto">
            <a:xfrm>
              <a:off x="2808" y="3385"/>
              <a:ext cx="37" cy="35"/>
            </a:xfrm>
            <a:custGeom>
              <a:avLst/>
              <a:gdLst>
                <a:gd name="T0" fmla="*/ 37 w 37"/>
                <a:gd name="T1" fmla="*/ 18 h 35"/>
                <a:gd name="T2" fmla="*/ 32 w 37"/>
                <a:gd name="T3" fmla="*/ 5 h 35"/>
                <a:gd name="T4" fmla="*/ 18 w 37"/>
                <a:gd name="T5" fmla="*/ 0 h 35"/>
                <a:gd name="T6" fmla="*/ 5 w 37"/>
                <a:gd name="T7" fmla="*/ 5 h 35"/>
                <a:gd name="T8" fmla="*/ 0 w 37"/>
                <a:gd name="T9" fmla="*/ 18 h 35"/>
                <a:gd name="T10" fmla="*/ 5 w 37"/>
                <a:gd name="T11" fmla="*/ 30 h 35"/>
                <a:gd name="T12" fmla="*/ 18 w 37"/>
                <a:gd name="T13" fmla="*/ 35 h 35"/>
                <a:gd name="T14" fmla="*/ 32 w 37"/>
                <a:gd name="T15" fmla="*/ 30 h 35"/>
                <a:gd name="T16" fmla="*/ 37 w 37"/>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5">
                  <a:moveTo>
                    <a:pt x="37" y="18"/>
                  </a:moveTo>
                  <a:lnTo>
                    <a:pt x="32" y="5"/>
                  </a:lnTo>
                  <a:lnTo>
                    <a:pt x="18" y="0"/>
                  </a:lnTo>
                  <a:lnTo>
                    <a:pt x="5" y="5"/>
                  </a:lnTo>
                  <a:lnTo>
                    <a:pt x="0" y="18"/>
                  </a:lnTo>
                  <a:lnTo>
                    <a:pt x="5" y="30"/>
                  </a:lnTo>
                  <a:lnTo>
                    <a:pt x="18" y="35"/>
                  </a:lnTo>
                  <a:lnTo>
                    <a:pt x="32" y="30"/>
                  </a:lnTo>
                  <a:lnTo>
                    <a:pt x="37" y="18"/>
                  </a:lnTo>
                  <a:close/>
                </a:path>
              </a:pathLst>
            </a:custGeom>
            <a:noFill/>
            <a:ln w="1588" cap="rnd">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grpSp>
      <p:grpSp>
        <p:nvGrpSpPr>
          <p:cNvPr id="121" name="Group 121">
            <a:extLst>
              <a:ext uri="{FF2B5EF4-FFF2-40B4-BE49-F238E27FC236}">
                <a16:creationId xmlns:a16="http://schemas.microsoft.com/office/drawing/2014/main" id="{69E32156-6BA0-4E66-9ADC-E5EEB12CC7F2}"/>
              </a:ext>
            </a:extLst>
          </p:cNvPr>
          <p:cNvGrpSpPr>
            <a:grpSpLocks/>
          </p:cNvGrpSpPr>
          <p:nvPr>
            <p:custDataLst>
              <p:tags r:id="rId106"/>
            </p:custDataLst>
          </p:nvPr>
        </p:nvGrpSpPr>
        <p:grpSpPr bwMode="auto">
          <a:xfrm rot="120000">
            <a:off x="8480343" y="4177411"/>
            <a:ext cx="61911" cy="53973"/>
            <a:chOff x="2569" y="2762"/>
            <a:chExt cx="37" cy="34"/>
          </a:xfrm>
        </p:grpSpPr>
        <p:sp>
          <p:nvSpPr>
            <p:cNvPr id="122" name="Freeform 122">
              <a:extLst>
                <a:ext uri="{FF2B5EF4-FFF2-40B4-BE49-F238E27FC236}">
                  <a16:creationId xmlns:a16="http://schemas.microsoft.com/office/drawing/2014/main" id="{2FE3FF7B-ABE8-41F5-8D14-B40C4CF3AB35}"/>
                </a:ext>
              </a:extLst>
            </p:cNvPr>
            <p:cNvSpPr>
              <a:spLocks/>
            </p:cNvSpPr>
            <p:nvPr/>
          </p:nvSpPr>
          <p:spPr bwMode="auto">
            <a:xfrm>
              <a:off x="2569" y="2762"/>
              <a:ext cx="37" cy="34"/>
            </a:xfrm>
            <a:custGeom>
              <a:avLst/>
              <a:gdLst>
                <a:gd name="T0" fmla="*/ 37 w 37"/>
                <a:gd name="T1" fmla="*/ 17 h 34"/>
                <a:gd name="T2" fmla="*/ 32 w 37"/>
                <a:gd name="T3" fmla="*/ 4 h 34"/>
                <a:gd name="T4" fmla="*/ 18 w 37"/>
                <a:gd name="T5" fmla="*/ 0 h 34"/>
                <a:gd name="T6" fmla="*/ 5 w 37"/>
                <a:gd name="T7" fmla="*/ 4 h 34"/>
                <a:gd name="T8" fmla="*/ 0 w 37"/>
                <a:gd name="T9" fmla="*/ 17 h 34"/>
                <a:gd name="T10" fmla="*/ 5 w 37"/>
                <a:gd name="T11" fmla="*/ 29 h 34"/>
                <a:gd name="T12" fmla="*/ 18 w 37"/>
                <a:gd name="T13" fmla="*/ 34 h 34"/>
                <a:gd name="T14" fmla="*/ 32 w 37"/>
                <a:gd name="T15" fmla="*/ 29 h 34"/>
                <a:gd name="T16" fmla="*/ 37 w 37"/>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4">
                  <a:moveTo>
                    <a:pt x="37" y="17"/>
                  </a:moveTo>
                  <a:lnTo>
                    <a:pt x="32" y="4"/>
                  </a:lnTo>
                  <a:lnTo>
                    <a:pt x="18" y="0"/>
                  </a:lnTo>
                  <a:lnTo>
                    <a:pt x="5" y="4"/>
                  </a:lnTo>
                  <a:lnTo>
                    <a:pt x="0" y="17"/>
                  </a:lnTo>
                  <a:lnTo>
                    <a:pt x="5" y="29"/>
                  </a:lnTo>
                  <a:lnTo>
                    <a:pt x="18" y="34"/>
                  </a:lnTo>
                  <a:lnTo>
                    <a:pt x="32" y="29"/>
                  </a:lnTo>
                  <a:lnTo>
                    <a:pt x="37" y="17"/>
                  </a:lnTo>
                  <a:close/>
                </a:path>
              </a:pathLst>
            </a:custGeom>
            <a:solidFill>
              <a:srgbClr val="0000FF"/>
            </a:solidFill>
            <a:ln w="9525">
              <a:solidFill>
                <a:srgbClr val="0000FF"/>
              </a:solidFill>
              <a:round/>
              <a:headEnd/>
              <a:tailEnd/>
            </a:ln>
          </p:spPr>
          <p:txBody>
            <a:bodyPr/>
            <a:lstStyle/>
            <a:p>
              <a:pPr defTabSz="609539"/>
              <a:endParaRPr lang="en-US" sz="2399">
                <a:solidFill>
                  <a:srgbClr val="000000"/>
                </a:solidFill>
              </a:endParaRPr>
            </a:p>
          </p:txBody>
        </p:sp>
        <p:sp>
          <p:nvSpPr>
            <p:cNvPr id="123" name="Freeform 123">
              <a:extLst>
                <a:ext uri="{FF2B5EF4-FFF2-40B4-BE49-F238E27FC236}">
                  <a16:creationId xmlns:a16="http://schemas.microsoft.com/office/drawing/2014/main" id="{2D5E2CD1-C14B-4DE1-BF97-14CEEA3ADD1D}"/>
                </a:ext>
              </a:extLst>
            </p:cNvPr>
            <p:cNvSpPr>
              <a:spLocks/>
            </p:cNvSpPr>
            <p:nvPr/>
          </p:nvSpPr>
          <p:spPr bwMode="auto">
            <a:xfrm>
              <a:off x="2569" y="2762"/>
              <a:ext cx="37" cy="34"/>
            </a:xfrm>
            <a:custGeom>
              <a:avLst/>
              <a:gdLst>
                <a:gd name="T0" fmla="*/ 37 w 37"/>
                <a:gd name="T1" fmla="*/ 17 h 34"/>
                <a:gd name="T2" fmla="*/ 32 w 37"/>
                <a:gd name="T3" fmla="*/ 4 h 34"/>
                <a:gd name="T4" fmla="*/ 18 w 37"/>
                <a:gd name="T5" fmla="*/ 0 h 34"/>
                <a:gd name="T6" fmla="*/ 5 w 37"/>
                <a:gd name="T7" fmla="*/ 4 h 34"/>
                <a:gd name="T8" fmla="*/ 0 w 37"/>
                <a:gd name="T9" fmla="*/ 17 h 34"/>
                <a:gd name="T10" fmla="*/ 5 w 37"/>
                <a:gd name="T11" fmla="*/ 29 h 34"/>
                <a:gd name="T12" fmla="*/ 18 w 37"/>
                <a:gd name="T13" fmla="*/ 34 h 34"/>
                <a:gd name="T14" fmla="*/ 32 w 37"/>
                <a:gd name="T15" fmla="*/ 29 h 34"/>
                <a:gd name="T16" fmla="*/ 37 w 37"/>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4">
                  <a:moveTo>
                    <a:pt x="37" y="17"/>
                  </a:moveTo>
                  <a:lnTo>
                    <a:pt x="32" y="4"/>
                  </a:lnTo>
                  <a:lnTo>
                    <a:pt x="18" y="0"/>
                  </a:lnTo>
                  <a:lnTo>
                    <a:pt x="5" y="4"/>
                  </a:lnTo>
                  <a:lnTo>
                    <a:pt x="0" y="17"/>
                  </a:lnTo>
                  <a:lnTo>
                    <a:pt x="5" y="29"/>
                  </a:lnTo>
                  <a:lnTo>
                    <a:pt x="18" y="34"/>
                  </a:lnTo>
                  <a:lnTo>
                    <a:pt x="32" y="29"/>
                  </a:lnTo>
                  <a:lnTo>
                    <a:pt x="37" y="17"/>
                  </a:lnTo>
                  <a:close/>
                </a:path>
              </a:pathLst>
            </a:custGeom>
            <a:solidFill>
              <a:srgbClr val="0000FF"/>
            </a:solidFill>
            <a:ln w="1588" cap="rnd">
              <a:solidFill>
                <a:srgbClr val="0000FF"/>
              </a:solidFill>
              <a:prstDash val="solid"/>
              <a:round/>
              <a:headEnd/>
              <a:tailEnd/>
            </a:ln>
          </p:spPr>
          <p:txBody>
            <a:bodyPr/>
            <a:lstStyle/>
            <a:p>
              <a:pPr defTabSz="609539"/>
              <a:endParaRPr lang="en-US" sz="2399">
                <a:solidFill>
                  <a:srgbClr val="000000"/>
                </a:solidFill>
              </a:endParaRPr>
            </a:p>
          </p:txBody>
        </p:sp>
      </p:grpSp>
      <p:grpSp>
        <p:nvGrpSpPr>
          <p:cNvPr id="124" name="Group 127">
            <a:extLst>
              <a:ext uri="{FF2B5EF4-FFF2-40B4-BE49-F238E27FC236}">
                <a16:creationId xmlns:a16="http://schemas.microsoft.com/office/drawing/2014/main" id="{AD435E57-FF2C-43D3-84DA-2E7275035161}"/>
              </a:ext>
            </a:extLst>
          </p:cNvPr>
          <p:cNvGrpSpPr>
            <a:grpSpLocks/>
          </p:cNvGrpSpPr>
          <p:nvPr>
            <p:custDataLst>
              <p:tags r:id="rId107"/>
            </p:custDataLst>
          </p:nvPr>
        </p:nvGrpSpPr>
        <p:grpSpPr bwMode="auto">
          <a:xfrm rot="120000">
            <a:off x="9456625" y="3150326"/>
            <a:ext cx="61910" cy="57148"/>
            <a:chOff x="3201" y="2139"/>
            <a:chExt cx="38" cy="35"/>
          </a:xfrm>
        </p:grpSpPr>
        <p:sp>
          <p:nvSpPr>
            <p:cNvPr id="125" name="Freeform 128">
              <a:extLst>
                <a:ext uri="{FF2B5EF4-FFF2-40B4-BE49-F238E27FC236}">
                  <a16:creationId xmlns:a16="http://schemas.microsoft.com/office/drawing/2014/main" id="{D23ACDBC-5C1C-4EFB-A5E7-B6896EB85391}"/>
                </a:ext>
              </a:extLst>
            </p:cNvPr>
            <p:cNvSpPr>
              <a:spLocks/>
            </p:cNvSpPr>
            <p:nvPr/>
          </p:nvSpPr>
          <p:spPr bwMode="auto">
            <a:xfrm>
              <a:off x="3201" y="2139"/>
              <a:ext cx="38" cy="35"/>
            </a:xfrm>
            <a:custGeom>
              <a:avLst/>
              <a:gdLst>
                <a:gd name="T0" fmla="*/ 38 w 38"/>
                <a:gd name="T1" fmla="*/ 17 h 35"/>
                <a:gd name="T2" fmla="*/ 33 w 38"/>
                <a:gd name="T3" fmla="*/ 5 h 35"/>
                <a:gd name="T4" fmla="*/ 19 w 38"/>
                <a:gd name="T5" fmla="*/ 0 h 35"/>
                <a:gd name="T6" fmla="*/ 6 w 38"/>
                <a:gd name="T7" fmla="*/ 5 h 35"/>
                <a:gd name="T8" fmla="*/ 0 w 38"/>
                <a:gd name="T9" fmla="*/ 17 h 35"/>
                <a:gd name="T10" fmla="*/ 6 w 38"/>
                <a:gd name="T11" fmla="*/ 30 h 35"/>
                <a:gd name="T12" fmla="*/ 19 w 38"/>
                <a:gd name="T13" fmla="*/ 35 h 35"/>
                <a:gd name="T14" fmla="*/ 33 w 38"/>
                <a:gd name="T15" fmla="*/ 30 h 35"/>
                <a:gd name="T16" fmla="*/ 38 w 38"/>
                <a:gd name="T1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7"/>
                  </a:moveTo>
                  <a:lnTo>
                    <a:pt x="33" y="5"/>
                  </a:lnTo>
                  <a:lnTo>
                    <a:pt x="19" y="0"/>
                  </a:lnTo>
                  <a:lnTo>
                    <a:pt x="6" y="5"/>
                  </a:lnTo>
                  <a:lnTo>
                    <a:pt x="0" y="17"/>
                  </a:lnTo>
                  <a:lnTo>
                    <a:pt x="6" y="30"/>
                  </a:lnTo>
                  <a:lnTo>
                    <a:pt x="19" y="35"/>
                  </a:lnTo>
                  <a:lnTo>
                    <a:pt x="33" y="30"/>
                  </a:lnTo>
                  <a:lnTo>
                    <a:pt x="38" y="17"/>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39"/>
              <a:endParaRPr lang="en-US" sz="2399">
                <a:solidFill>
                  <a:srgbClr val="000000"/>
                </a:solidFill>
              </a:endParaRPr>
            </a:p>
          </p:txBody>
        </p:sp>
        <p:sp>
          <p:nvSpPr>
            <p:cNvPr id="126" name="Freeform 129">
              <a:extLst>
                <a:ext uri="{FF2B5EF4-FFF2-40B4-BE49-F238E27FC236}">
                  <a16:creationId xmlns:a16="http://schemas.microsoft.com/office/drawing/2014/main" id="{244CBD41-77D7-4625-9109-8B32654DF706}"/>
                </a:ext>
              </a:extLst>
            </p:cNvPr>
            <p:cNvSpPr>
              <a:spLocks/>
            </p:cNvSpPr>
            <p:nvPr/>
          </p:nvSpPr>
          <p:spPr bwMode="auto">
            <a:xfrm>
              <a:off x="3201" y="2139"/>
              <a:ext cx="38" cy="35"/>
            </a:xfrm>
            <a:custGeom>
              <a:avLst/>
              <a:gdLst>
                <a:gd name="T0" fmla="*/ 38 w 38"/>
                <a:gd name="T1" fmla="*/ 17 h 35"/>
                <a:gd name="T2" fmla="*/ 33 w 38"/>
                <a:gd name="T3" fmla="*/ 5 h 35"/>
                <a:gd name="T4" fmla="*/ 19 w 38"/>
                <a:gd name="T5" fmla="*/ 0 h 35"/>
                <a:gd name="T6" fmla="*/ 6 w 38"/>
                <a:gd name="T7" fmla="*/ 5 h 35"/>
                <a:gd name="T8" fmla="*/ 0 w 38"/>
                <a:gd name="T9" fmla="*/ 17 h 35"/>
                <a:gd name="T10" fmla="*/ 6 w 38"/>
                <a:gd name="T11" fmla="*/ 30 h 35"/>
                <a:gd name="T12" fmla="*/ 19 w 38"/>
                <a:gd name="T13" fmla="*/ 35 h 35"/>
                <a:gd name="T14" fmla="*/ 33 w 38"/>
                <a:gd name="T15" fmla="*/ 30 h 35"/>
                <a:gd name="T16" fmla="*/ 38 w 38"/>
                <a:gd name="T1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7"/>
                  </a:moveTo>
                  <a:lnTo>
                    <a:pt x="33" y="5"/>
                  </a:lnTo>
                  <a:lnTo>
                    <a:pt x="19" y="0"/>
                  </a:lnTo>
                  <a:lnTo>
                    <a:pt x="6" y="5"/>
                  </a:lnTo>
                  <a:lnTo>
                    <a:pt x="0" y="17"/>
                  </a:lnTo>
                  <a:lnTo>
                    <a:pt x="6" y="30"/>
                  </a:lnTo>
                  <a:lnTo>
                    <a:pt x="19" y="35"/>
                  </a:lnTo>
                  <a:lnTo>
                    <a:pt x="33" y="30"/>
                  </a:lnTo>
                  <a:lnTo>
                    <a:pt x="38" y="17"/>
                  </a:lnTo>
                  <a:close/>
                </a:path>
              </a:pathLst>
            </a:custGeom>
            <a:noFill/>
            <a:ln w="1588" cap="rnd">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grpSp>
      <p:grpSp>
        <p:nvGrpSpPr>
          <p:cNvPr id="127" name="Group 130">
            <a:extLst>
              <a:ext uri="{FF2B5EF4-FFF2-40B4-BE49-F238E27FC236}">
                <a16:creationId xmlns:a16="http://schemas.microsoft.com/office/drawing/2014/main" id="{AD387C30-47C5-49DB-854B-B27FB495DE99}"/>
              </a:ext>
            </a:extLst>
          </p:cNvPr>
          <p:cNvGrpSpPr>
            <a:grpSpLocks/>
          </p:cNvGrpSpPr>
          <p:nvPr>
            <p:custDataLst>
              <p:tags r:id="rId108"/>
            </p:custDataLst>
          </p:nvPr>
        </p:nvGrpSpPr>
        <p:grpSpPr bwMode="auto">
          <a:xfrm rot="120000">
            <a:off x="10023348" y="2502644"/>
            <a:ext cx="61911" cy="58737"/>
            <a:chOff x="3435" y="1961"/>
            <a:chExt cx="38" cy="35"/>
          </a:xfrm>
        </p:grpSpPr>
        <p:sp>
          <p:nvSpPr>
            <p:cNvPr id="128" name="Freeform 131">
              <a:extLst>
                <a:ext uri="{FF2B5EF4-FFF2-40B4-BE49-F238E27FC236}">
                  <a16:creationId xmlns:a16="http://schemas.microsoft.com/office/drawing/2014/main" id="{DEC367A5-5F98-414B-B11A-28CF11C4CA9B}"/>
                </a:ext>
              </a:extLst>
            </p:cNvPr>
            <p:cNvSpPr>
              <a:spLocks/>
            </p:cNvSpPr>
            <p:nvPr/>
          </p:nvSpPr>
          <p:spPr bwMode="auto">
            <a:xfrm>
              <a:off x="3435" y="1961"/>
              <a:ext cx="38" cy="35"/>
            </a:xfrm>
            <a:custGeom>
              <a:avLst/>
              <a:gdLst>
                <a:gd name="T0" fmla="*/ 38 w 38"/>
                <a:gd name="T1" fmla="*/ 18 h 35"/>
                <a:gd name="T2" fmla="*/ 33 w 38"/>
                <a:gd name="T3" fmla="*/ 5 h 35"/>
                <a:gd name="T4" fmla="*/ 19 w 38"/>
                <a:gd name="T5" fmla="*/ 0 h 35"/>
                <a:gd name="T6" fmla="*/ 6 w 38"/>
                <a:gd name="T7" fmla="*/ 5 h 35"/>
                <a:gd name="T8" fmla="*/ 0 w 38"/>
                <a:gd name="T9" fmla="*/ 18 h 35"/>
                <a:gd name="T10" fmla="*/ 6 w 38"/>
                <a:gd name="T11" fmla="*/ 30 h 35"/>
                <a:gd name="T12" fmla="*/ 19 w 38"/>
                <a:gd name="T13" fmla="*/ 35 h 35"/>
                <a:gd name="T14" fmla="*/ 33 w 38"/>
                <a:gd name="T15" fmla="*/ 30 h 35"/>
                <a:gd name="T16" fmla="*/ 38 w 38"/>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8"/>
                  </a:moveTo>
                  <a:lnTo>
                    <a:pt x="33" y="5"/>
                  </a:lnTo>
                  <a:lnTo>
                    <a:pt x="19" y="0"/>
                  </a:lnTo>
                  <a:lnTo>
                    <a:pt x="6" y="5"/>
                  </a:lnTo>
                  <a:lnTo>
                    <a:pt x="0" y="18"/>
                  </a:lnTo>
                  <a:lnTo>
                    <a:pt x="6" y="30"/>
                  </a:lnTo>
                  <a:lnTo>
                    <a:pt x="19" y="35"/>
                  </a:lnTo>
                  <a:lnTo>
                    <a:pt x="33" y="30"/>
                  </a:lnTo>
                  <a:lnTo>
                    <a:pt x="38"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39"/>
              <a:endParaRPr lang="en-US" sz="2399">
                <a:solidFill>
                  <a:srgbClr val="000000"/>
                </a:solidFill>
              </a:endParaRPr>
            </a:p>
          </p:txBody>
        </p:sp>
        <p:sp>
          <p:nvSpPr>
            <p:cNvPr id="129" name="Freeform 132">
              <a:extLst>
                <a:ext uri="{FF2B5EF4-FFF2-40B4-BE49-F238E27FC236}">
                  <a16:creationId xmlns:a16="http://schemas.microsoft.com/office/drawing/2014/main" id="{2EE3B9FF-5483-4EAA-8DE8-EC7D8459C38D}"/>
                </a:ext>
              </a:extLst>
            </p:cNvPr>
            <p:cNvSpPr>
              <a:spLocks/>
            </p:cNvSpPr>
            <p:nvPr/>
          </p:nvSpPr>
          <p:spPr bwMode="auto">
            <a:xfrm>
              <a:off x="3435" y="1961"/>
              <a:ext cx="38" cy="35"/>
            </a:xfrm>
            <a:custGeom>
              <a:avLst/>
              <a:gdLst>
                <a:gd name="T0" fmla="*/ 38 w 38"/>
                <a:gd name="T1" fmla="*/ 18 h 35"/>
                <a:gd name="T2" fmla="*/ 33 w 38"/>
                <a:gd name="T3" fmla="*/ 5 h 35"/>
                <a:gd name="T4" fmla="*/ 19 w 38"/>
                <a:gd name="T5" fmla="*/ 0 h 35"/>
                <a:gd name="T6" fmla="*/ 6 w 38"/>
                <a:gd name="T7" fmla="*/ 5 h 35"/>
                <a:gd name="T8" fmla="*/ 0 w 38"/>
                <a:gd name="T9" fmla="*/ 18 h 35"/>
                <a:gd name="T10" fmla="*/ 6 w 38"/>
                <a:gd name="T11" fmla="*/ 30 h 35"/>
                <a:gd name="T12" fmla="*/ 19 w 38"/>
                <a:gd name="T13" fmla="*/ 35 h 35"/>
                <a:gd name="T14" fmla="*/ 33 w 38"/>
                <a:gd name="T15" fmla="*/ 30 h 35"/>
                <a:gd name="T16" fmla="*/ 38 w 38"/>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8"/>
                  </a:moveTo>
                  <a:lnTo>
                    <a:pt x="33" y="5"/>
                  </a:lnTo>
                  <a:lnTo>
                    <a:pt x="19" y="0"/>
                  </a:lnTo>
                  <a:lnTo>
                    <a:pt x="6" y="5"/>
                  </a:lnTo>
                  <a:lnTo>
                    <a:pt x="0" y="18"/>
                  </a:lnTo>
                  <a:lnTo>
                    <a:pt x="6" y="30"/>
                  </a:lnTo>
                  <a:lnTo>
                    <a:pt x="19" y="35"/>
                  </a:lnTo>
                  <a:lnTo>
                    <a:pt x="33" y="30"/>
                  </a:lnTo>
                  <a:lnTo>
                    <a:pt x="38" y="18"/>
                  </a:lnTo>
                  <a:close/>
                </a:path>
              </a:pathLst>
            </a:custGeom>
            <a:noFill/>
            <a:ln w="1588" cap="rnd">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grpSp>
      <p:grpSp>
        <p:nvGrpSpPr>
          <p:cNvPr id="130" name="Group 133">
            <a:extLst>
              <a:ext uri="{FF2B5EF4-FFF2-40B4-BE49-F238E27FC236}">
                <a16:creationId xmlns:a16="http://schemas.microsoft.com/office/drawing/2014/main" id="{D2CDE943-B12A-4203-824A-355431BFC46F}"/>
              </a:ext>
            </a:extLst>
          </p:cNvPr>
          <p:cNvGrpSpPr>
            <a:grpSpLocks/>
          </p:cNvGrpSpPr>
          <p:nvPr>
            <p:custDataLst>
              <p:tags r:id="rId109"/>
            </p:custDataLst>
          </p:nvPr>
        </p:nvGrpSpPr>
        <p:grpSpPr bwMode="auto">
          <a:xfrm rot="120000">
            <a:off x="9826504" y="1605733"/>
            <a:ext cx="60323" cy="55561"/>
            <a:chOff x="3351" y="1150"/>
            <a:chExt cx="37" cy="34"/>
          </a:xfrm>
        </p:grpSpPr>
        <p:sp>
          <p:nvSpPr>
            <p:cNvPr id="131" name="Freeform 134">
              <a:extLst>
                <a:ext uri="{FF2B5EF4-FFF2-40B4-BE49-F238E27FC236}">
                  <a16:creationId xmlns:a16="http://schemas.microsoft.com/office/drawing/2014/main" id="{F1589956-837F-46AE-9737-40FA81A0EF4D}"/>
                </a:ext>
              </a:extLst>
            </p:cNvPr>
            <p:cNvSpPr>
              <a:spLocks/>
            </p:cNvSpPr>
            <p:nvPr/>
          </p:nvSpPr>
          <p:spPr bwMode="auto">
            <a:xfrm>
              <a:off x="3351" y="1150"/>
              <a:ext cx="37" cy="34"/>
            </a:xfrm>
            <a:custGeom>
              <a:avLst/>
              <a:gdLst>
                <a:gd name="T0" fmla="*/ 37 w 37"/>
                <a:gd name="T1" fmla="*/ 17 h 34"/>
                <a:gd name="T2" fmla="*/ 32 w 37"/>
                <a:gd name="T3" fmla="*/ 4 h 34"/>
                <a:gd name="T4" fmla="*/ 18 w 37"/>
                <a:gd name="T5" fmla="*/ 0 h 34"/>
                <a:gd name="T6" fmla="*/ 5 w 37"/>
                <a:gd name="T7" fmla="*/ 4 h 34"/>
                <a:gd name="T8" fmla="*/ 0 w 37"/>
                <a:gd name="T9" fmla="*/ 17 h 34"/>
                <a:gd name="T10" fmla="*/ 5 w 37"/>
                <a:gd name="T11" fmla="*/ 28 h 34"/>
                <a:gd name="T12" fmla="*/ 18 w 37"/>
                <a:gd name="T13" fmla="*/ 34 h 34"/>
                <a:gd name="T14" fmla="*/ 32 w 37"/>
                <a:gd name="T15" fmla="*/ 28 h 34"/>
                <a:gd name="T16" fmla="*/ 37 w 37"/>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4">
                  <a:moveTo>
                    <a:pt x="37" y="17"/>
                  </a:moveTo>
                  <a:lnTo>
                    <a:pt x="32" y="4"/>
                  </a:lnTo>
                  <a:lnTo>
                    <a:pt x="18" y="0"/>
                  </a:lnTo>
                  <a:lnTo>
                    <a:pt x="5" y="4"/>
                  </a:lnTo>
                  <a:lnTo>
                    <a:pt x="0" y="17"/>
                  </a:lnTo>
                  <a:lnTo>
                    <a:pt x="5" y="28"/>
                  </a:lnTo>
                  <a:lnTo>
                    <a:pt x="18" y="34"/>
                  </a:lnTo>
                  <a:lnTo>
                    <a:pt x="32" y="28"/>
                  </a:lnTo>
                  <a:lnTo>
                    <a:pt x="37" y="17"/>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39"/>
              <a:endParaRPr lang="en-US" sz="2399">
                <a:solidFill>
                  <a:srgbClr val="000000"/>
                </a:solidFill>
              </a:endParaRPr>
            </a:p>
          </p:txBody>
        </p:sp>
        <p:sp>
          <p:nvSpPr>
            <p:cNvPr id="132" name="Freeform 135">
              <a:extLst>
                <a:ext uri="{FF2B5EF4-FFF2-40B4-BE49-F238E27FC236}">
                  <a16:creationId xmlns:a16="http://schemas.microsoft.com/office/drawing/2014/main" id="{5F7FD561-E80B-4D2B-817A-5742EEAFE529}"/>
                </a:ext>
              </a:extLst>
            </p:cNvPr>
            <p:cNvSpPr>
              <a:spLocks/>
            </p:cNvSpPr>
            <p:nvPr/>
          </p:nvSpPr>
          <p:spPr bwMode="auto">
            <a:xfrm>
              <a:off x="3351" y="1150"/>
              <a:ext cx="37" cy="34"/>
            </a:xfrm>
            <a:custGeom>
              <a:avLst/>
              <a:gdLst>
                <a:gd name="T0" fmla="*/ 37 w 37"/>
                <a:gd name="T1" fmla="*/ 17 h 34"/>
                <a:gd name="T2" fmla="*/ 32 w 37"/>
                <a:gd name="T3" fmla="*/ 4 h 34"/>
                <a:gd name="T4" fmla="*/ 18 w 37"/>
                <a:gd name="T5" fmla="*/ 0 h 34"/>
                <a:gd name="T6" fmla="*/ 5 w 37"/>
                <a:gd name="T7" fmla="*/ 4 h 34"/>
                <a:gd name="T8" fmla="*/ 0 w 37"/>
                <a:gd name="T9" fmla="*/ 17 h 34"/>
                <a:gd name="T10" fmla="*/ 5 w 37"/>
                <a:gd name="T11" fmla="*/ 28 h 34"/>
                <a:gd name="T12" fmla="*/ 18 w 37"/>
                <a:gd name="T13" fmla="*/ 34 h 34"/>
                <a:gd name="T14" fmla="*/ 32 w 37"/>
                <a:gd name="T15" fmla="*/ 28 h 34"/>
                <a:gd name="T16" fmla="*/ 37 w 37"/>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4">
                  <a:moveTo>
                    <a:pt x="37" y="17"/>
                  </a:moveTo>
                  <a:lnTo>
                    <a:pt x="32" y="4"/>
                  </a:lnTo>
                  <a:lnTo>
                    <a:pt x="18" y="0"/>
                  </a:lnTo>
                  <a:lnTo>
                    <a:pt x="5" y="4"/>
                  </a:lnTo>
                  <a:lnTo>
                    <a:pt x="0" y="17"/>
                  </a:lnTo>
                  <a:lnTo>
                    <a:pt x="5" y="28"/>
                  </a:lnTo>
                  <a:lnTo>
                    <a:pt x="18" y="34"/>
                  </a:lnTo>
                  <a:lnTo>
                    <a:pt x="32" y="28"/>
                  </a:lnTo>
                  <a:lnTo>
                    <a:pt x="37" y="17"/>
                  </a:lnTo>
                  <a:close/>
                </a:path>
              </a:pathLst>
            </a:custGeom>
            <a:noFill/>
            <a:ln w="1588" cap="rnd">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grpSp>
      <p:grpSp>
        <p:nvGrpSpPr>
          <p:cNvPr id="133" name="Group 136">
            <a:extLst>
              <a:ext uri="{FF2B5EF4-FFF2-40B4-BE49-F238E27FC236}">
                <a16:creationId xmlns:a16="http://schemas.microsoft.com/office/drawing/2014/main" id="{3CD62B78-8E2E-43FA-83D2-C340EA7511AD}"/>
              </a:ext>
            </a:extLst>
          </p:cNvPr>
          <p:cNvGrpSpPr>
            <a:grpSpLocks/>
          </p:cNvGrpSpPr>
          <p:nvPr>
            <p:custDataLst>
              <p:tags r:id="rId110"/>
            </p:custDataLst>
          </p:nvPr>
        </p:nvGrpSpPr>
        <p:grpSpPr bwMode="auto">
          <a:xfrm rot="120000">
            <a:off x="9440751" y="1670818"/>
            <a:ext cx="61910" cy="58737"/>
            <a:chOff x="3159" y="1086"/>
            <a:chExt cx="38" cy="35"/>
          </a:xfrm>
        </p:grpSpPr>
        <p:sp>
          <p:nvSpPr>
            <p:cNvPr id="134" name="Freeform 137">
              <a:extLst>
                <a:ext uri="{FF2B5EF4-FFF2-40B4-BE49-F238E27FC236}">
                  <a16:creationId xmlns:a16="http://schemas.microsoft.com/office/drawing/2014/main" id="{3D0534B6-1F9F-44DA-A223-D1FF4E030DED}"/>
                </a:ext>
              </a:extLst>
            </p:cNvPr>
            <p:cNvSpPr>
              <a:spLocks/>
            </p:cNvSpPr>
            <p:nvPr/>
          </p:nvSpPr>
          <p:spPr bwMode="auto">
            <a:xfrm>
              <a:off x="3159" y="1086"/>
              <a:ext cx="38" cy="35"/>
            </a:xfrm>
            <a:custGeom>
              <a:avLst/>
              <a:gdLst>
                <a:gd name="T0" fmla="*/ 38 w 38"/>
                <a:gd name="T1" fmla="*/ 18 h 35"/>
                <a:gd name="T2" fmla="*/ 32 w 38"/>
                <a:gd name="T3" fmla="*/ 5 h 35"/>
                <a:gd name="T4" fmla="*/ 19 w 38"/>
                <a:gd name="T5" fmla="*/ 0 h 35"/>
                <a:gd name="T6" fmla="*/ 6 w 38"/>
                <a:gd name="T7" fmla="*/ 5 h 35"/>
                <a:gd name="T8" fmla="*/ 0 w 38"/>
                <a:gd name="T9" fmla="*/ 18 h 35"/>
                <a:gd name="T10" fmla="*/ 6 w 38"/>
                <a:gd name="T11" fmla="*/ 30 h 35"/>
                <a:gd name="T12" fmla="*/ 19 w 38"/>
                <a:gd name="T13" fmla="*/ 35 h 35"/>
                <a:gd name="T14" fmla="*/ 32 w 38"/>
                <a:gd name="T15" fmla="*/ 30 h 35"/>
                <a:gd name="T16" fmla="*/ 38 w 38"/>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8"/>
                  </a:moveTo>
                  <a:lnTo>
                    <a:pt x="32" y="5"/>
                  </a:lnTo>
                  <a:lnTo>
                    <a:pt x="19" y="0"/>
                  </a:lnTo>
                  <a:lnTo>
                    <a:pt x="6" y="5"/>
                  </a:lnTo>
                  <a:lnTo>
                    <a:pt x="0" y="18"/>
                  </a:lnTo>
                  <a:lnTo>
                    <a:pt x="6" y="30"/>
                  </a:lnTo>
                  <a:lnTo>
                    <a:pt x="19" y="35"/>
                  </a:lnTo>
                  <a:lnTo>
                    <a:pt x="32" y="30"/>
                  </a:lnTo>
                  <a:lnTo>
                    <a:pt x="38"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39"/>
              <a:endParaRPr lang="en-US" sz="2399">
                <a:solidFill>
                  <a:srgbClr val="000000"/>
                </a:solidFill>
              </a:endParaRPr>
            </a:p>
          </p:txBody>
        </p:sp>
        <p:sp>
          <p:nvSpPr>
            <p:cNvPr id="135" name="Freeform 138">
              <a:extLst>
                <a:ext uri="{FF2B5EF4-FFF2-40B4-BE49-F238E27FC236}">
                  <a16:creationId xmlns:a16="http://schemas.microsoft.com/office/drawing/2014/main" id="{F7292D9F-00B5-4BE9-A19C-59837F25F12A}"/>
                </a:ext>
              </a:extLst>
            </p:cNvPr>
            <p:cNvSpPr>
              <a:spLocks/>
            </p:cNvSpPr>
            <p:nvPr/>
          </p:nvSpPr>
          <p:spPr bwMode="auto">
            <a:xfrm>
              <a:off x="3159" y="1086"/>
              <a:ext cx="38" cy="35"/>
            </a:xfrm>
            <a:custGeom>
              <a:avLst/>
              <a:gdLst>
                <a:gd name="T0" fmla="*/ 38 w 38"/>
                <a:gd name="T1" fmla="*/ 18 h 35"/>
                <a:gd name="T2" fmla="*/ 32 w 38"/>
                <a:gd name="T3" fmla="*/ 5 h 35"/>
                <a:gd name="T4" fmla="*/ 19 w 38"/>
                <a:gd name="T5" fmla="*/ 0 h 35"/>
                <a:gd name="T6" fmla="*/ 6 w 38"/>
                <a:gd name="T7" fmla="*/ 5 h 35"/>
                <a:gd name="T8" fmla="*/ 0 w 38"/>
                <a:gd name="T9" fmla="*/ 18 h 35"/>
                <a:gd name="T10" fmla="*/ 6 w 38"/>
                <a:gd name="T11" fmla="*/ 30 h 35"/>
                <a:gd name="T12" fmla="*/ 19 w 38"/>
                <a:gd name="T13" fmla="*/ 35 h 35"/>
                <a:gd name="T14" fmla="*/ 32 w 38"/>
                <a:gd name="T15" fmla="*/ 30 h 35"/>
                <a:gd name="T16" fmla="*/ 38 w 38"/>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8"/>
                  </a:moveTo>
                  <a:lnTo>
                    <a:pt x="32" y="5"/>
                  </a:lnTo>
                  <a:lnTo>
                    <a:pt x="19" y="0"/>
                  </a:lnTo>
                  <a:lnTo>
                    <a:pt x="6" y="5"/>
                  </a:lnTo>
                  <a:lnTo>
                    <a:pt x="0" y="18"/>
                  </a:lnTo>
                  <a:lnTo>
                    <a:pt x="6" y="30"/>
                  </a:lnTo>
                  <a:lnTo>
                    <a:pt x="19" y="35"/>
                  </a:lnTo>
                  <a:lnTo>
                    <a:pt x="32" y="30"/>
                  </a:lnTo>
                  <a:lnTo>
                    <a:pt x="38" y="18"/>
                  </a:lnTo>
                  <a:close/>
                </a:path>
              </a:pathLst>
            </a:custGeom>
            <a:noFill/>
            <a:ln w="1588" cap="rnd">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grpSp>
      <p:grpSp>
        <p:nvGrpSpPr>
          <p:cNvPr id="136" name="Group 142">
            <a:extLst>
              <a:ext uri="{FF2B5EF4-FFF2-40B4-BE49-F238E27FC236}">
                <a16:creationId xmlns:a16="http://schemas.microsoft.com/office/drawing/2014/main" id="{983F58E9-24A1-4450-8177-76096130ABE3}"/>
              </a:ext>
            </a:extLst>
          </p:cNvPr>
          <p:cNvGrpSpPr>
            <a:grpSpLocks/>
          </p:cNvGrpSpPr>
          <p:nvPr>
            <p:custDataLst>
              <p:tags r:id="rId111"/>
            </p:custDataLst>
          </p:nvPr>
        </p:nvGrpSpPr>
        <p:grpSpPr bwMode="auto">
          <a:xfrm rot="120000">
            <a:off x="6322992" y="4274243"/>
            <a:ext cx="63498" cy="57148"/>
            <a:chOff x="1299" y="2888"/>
            <a:chExt cx="38" cy="35"/>
          </a:xfrm>
        </p:grpSpPr>
        <p:sp>
          <p:nvSpPr>
            <p:cNvPr id="137" name="Freeform 143">
              <a:extLst>
                <a:ext uri="{FF2B5EF4-FFF2-40B4-BE49-F238E27FC236}">
                  <a16:creationId xmlns:a16="http://schemas.microsoft.com/office/drawing/2014/main" id="{934B6A36-485F-40C7-9A06-2CFFE9A6B04B}"/>
                </a:ext>
              </a:extLst>
            </p:cNvPr>
            <p:cNvSpPr>
              <a:spLocks/>
            </p:cNvSpPr>
            <p:nvPr/>
          </p:nvSpPr>
          <p:spPr bwMode="auto">
            <a:xfrm>
              <a:off x="1299" y="2888"/>
              <a:ext cx="38" cy="35"/>
            </a:xfrm>
            <a:custGeom>
              <a:avLst/>
              <a:gdLst>
                <a:gd name="T0" fmla="*/ 38 w 38"/>
                <a:gd name="T1" fmla="*/ 17 h 35"/>
                <a:gd name="T2" fmla="*/ 32 w 38"/>
                <a:gd name="T3" fmla="*/ 5 h 35"/>
                <a:gd name="T4" fmla="*/ 19 w 38"/>
                <a:gd name="T5" fmla="*/ 0 h 35"/>
                <a:gd name="T6" fmla="*/ 6 w 38"/>
                <a:gd name="T7" fmla="*/ 5 h 35"/>
                <a:gd name="T8" fmla="*/ 0 w 38"/>
                <a:gd name="T9" fmla="*/ 17 h 35"/>
                <a:gd name="T10" fmla="*/ 6 w 38"/>
                <a:gd name="T11" fmla="*/ 30 h 35"/>
                <a:gd name="T12" fmla="*/ 19 w 38"/>
                <a:gd name="T13" fmla="*/ 35 h 35"/>
                <a:gd name="T14" fmla="*/ 32 w 38"/>
                <a:gd name="T15" fmla="*/ 30 h 35"/>
                <a:gd name="T16" fmla="*/ 38 w 38"/>
                <a:gd name="T1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7"/>
                  </a:moveTo>
                  <a:lnTo>
                    <a:pt x="32" y="5"/>
                  </a:lnTo>
                  <a:lnTo>
                    <a:pt x="19" y="0"/>
                  </a:lnTo>
                  <a:lnTo>
                    <a:pt x="6" y="5"/>
                  </a:lnTo>
                  <a:lnTo>
                    <a:pt x="0" y="17"/>
                  </a:lnTo>
                  <a:lnTo>
                    <a:pt x="6" y="30"/>
                  </a:lnTo>
                  <a:lnTo>
                    <a:pt x="19" y="35"/>
                  </a:lnTo>
                  <a:lnTo>
                    <a:pt x="32" y="30"/>
                  </a:lnTo>
                  <a:lnTo>
                    <a:pt x="38" y="17"/>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39"/>
              <a:endParaRPr lang="en-US" sz="2399">
                <a:solidFill>
                  <a:srgbClr val="000000"/>
                </a:solidFill>
              </a:endParaRPr>
            </a:p>
          </p:txBody>
        </p:sp>
        <p:sp>
          <p:nvSpPr>
            <p:cNvPr id="138" name="Freeform 144">
              <a:extLst>
                <a:ext uri="{FF2B5EF4-FFF2-40B4-BE49-F238E27FC236}">
                  <a16:creationId xmlns:a16="http://schemas.microsoft.com/office/drawing/2014/main" id="{51B4D914-C4AA-4A31-BF26-9ED97DB1CF3A}"/>
                </a:ext>
              </a:extLst>
            </p:cNvPr>
            <p:cNvSpPr>
              <a:spLocks/>
            </p:cNvSpPr>
            <p:nvPr/>
          </p:nvSpPr>
          <p:spPr bwMode="auto">
            <a:xfrm>
              <a:off x="1299" y="2888"/>
              <a:ext cx="38" cy="35"/>
            </a:xfrm>
            <a:custGeom>
              <a:avLst/>
              <a:gdLst>
                <a:gd name="T0" fmla="*/ 38 w 38"/>
                <a:gd name="T1" fmla="*/ 17 h 35"/>
                <a:gd name="T2" fmla="*/ 32 w 38"/>
                <a:gd name="T3" fmla="*/ 5 h 35"/>
                <a:gd name="T4" fmla="*/ 19 w 38"/>
                <a:gd name="T5" fmla="*/ 0 h 35"/>
                <a:gd name="T6" fmla="*/ 6 w 38"/>
                <a:gd name="T7" fmla="*/ 5 h 35"/>
                <a:gd name="T8" fmla="*/ 0 w 38"/>
                <a:gd name="T9" fmla="*/ 17 h 35"/>
                <a:gd name="T10" fmla="*/ 6 w 38"/>
                <a:gd name="T11" fmla="*/ 30 h 35"/>
                <a:gd name="T12" fmla="*/ 19 w 38"/>
                <a:gd name="T13" fmla="*/ 35 h 35"/>
                <a:gd name="T14" fmla="*/ 32 w 38"/>
                <a:gd name="T15" fmla="*/ 30 h 35"/>
                <a:gd name="T16" fmla="*/ 38 w 38"/>
                <a:gd name="T1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7"/>
                  </a:moveTo>
                  <a:lnTo>
                    <a:pt x="32" y="5"/>
                  </a:lnTo>
                  <a:lnTo>
                    <a:pt x="19" y="0"/>
                  </a:lnTo>
                  <a:lnTo>
                    <a:pt x="6" y="5"/>
                  </a:lnTo>
                  <a:lnTo>
                    <a:pt x="0" y="17"/>
                  </a:lnTo>
                  <a:lnTo>
                    <a:pt x="6" y="30"/>
                  </a:lnTo>
                  <a:lnTo>
                    <a:pt x="19" y="35"/>
                  </a:lnTo>
                  <a:lnTo>
                    <a:pt x="32" y="30"/>
                  </a:lnTo>
                  <a:lnTo>
                    <a:pt x="38" y="17"/>
                  </a:lnTo>
                  <a:close/>
                </a:path>
              </a:pathLst>
            </a:custGeom>
            <a:noFill/>
            <a:ln w="1588" cap="rnd">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grpSp>
      <p:grpSp>
        <p:nvGrpSpPr>
          <p:cNvPr id="139" name="Group 145">
            <a:extLst>
              <a:ext uri="{FF2B5EF4-FFF2-40B4-BE49-F238E27FC236}">
                <a16:creationId xmlns:a16="http://schemas.microsoft.com/office/drawing/2014/main" id="{CFCD074E-39FA-46EC-B414-61206161E4EC}"/>
              </a:ext>
            </a:extLst>
          </p:cNvPr>
          <p:cNvGrpSpPr>
            <a:grpSpLocks/>
          </p:cNvGrpSpPr>
          <p:nvPr>
            <p:custDataLst>
              <p:tags r:id="rId112"/>
            </p:custDataLst>
          </p:nvPr>
        </p:nvGrpSpPr>
        <p:grpSpPr bwMode="auto">
          <a:xfrm rot="120000">
            <a:off x="6024551" y="3428131"/>
            <a:ext cx="66673" cy="57148"/>
            <a:chOff x="1103" y="2527"/>
            <a:chExt cx="40" cy="35"/>
          </a:xfrm>
        </p:grpSpPr>
        <p:sp>
          <p:nvSpPr>
            <p:cNvPr id="140" name="Freeform 146">
              <a:extLst>
                <a:ext uri="{FF2B5EF4-FFF2-40B4-BE49-F238E27FC236}">
                  <a16:creationId xmlns:a16="http://schemas.microsoft.com/office/drawing/2014/main" id="{5026BF09-D42A-4240-AEB8-5B4E4849740A}"/>
                </a:ext>
              </a:extLst>
            </p:cNvPr>
            <p:cNvSpPr>
              <a:spLocks/>
            </p:cNvSpPr>
            <p:nvPr/>
          </p:nvSpPr>
          <p:spPr bwMode="auto">
            <a:xfrm>
              <a:off x="1103" y="2527"/>
              <a:ext cx="40" cy="35"/>
            </a:xfrm>
            <a:custGeom>
              <a:avLst/>
              <a:gdLst>
                <a:gd name="T0" fmla="*/ 40 w 40"/>
                <a:gd name="T1" fmla="*/ 17 h 35"/>
                <a:gd name="T2" fmla="*/ 34 w 40"/>
                <a:gd name="T3" fmla="*/ 5 h 35"/>
                <a:gd name="T4" fmla="*/ 20 w 40"/>
                <a:gd name="T5" fmla="*/ 0 h 35"/>
                <a:gd name="T6" fmla="*/ 6 w 40"/>
                <a:gd name="T7" fmla="*/ 5 h 35"/>
                <a:gd name="T8" fmla="*/ 0 w 40"/>
                <a:gd name="T9" fmla="*/ 17 h 35"/>
                <a:gd name="T10" fmla="*/ 6 w 40"/>
                <a:gd name="T11" fmla="*/ 29 h 35"/>
                <a:gd name="T12" fmla="*/ 20 w 40"/>
                <a:gd name="T13" fmla="*/ 35 h 35"/>
                <a:gd name="T14" fmla="*/ 34 w 40"/>
                <a:gd name="T15" fmla="*/ 29 h 35"/>
                <a:gd name="T16" fmla="*/ 40 w 40"/>
                <a:gd name="T1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35">
                  <a:moveTo>
                    <a:pt x="40" y="17"/>
                  </a:moveTo>
                  <a:lnTo>
                    <a:pt x="34" y="5"/>
                  </a:lnTo>
                  <a:lnTo>
                    <a:pt x="20" y="0"/>
                  </a:lnTo>
                  <a:lnTo>
                    <a:pt x="6" y="5"/>
                  </a:lnTo>
                  <a:lnTo>
                    <a:pt x="0" y="17"/>
                  </a:lnTo>
                  <a:lnTo>
                    <a:pt x="6" y="29"/>
                  </a:lnTo>
                  <a:lnTo>
                    <a:pt x="20" y="35"/>
                  </a:lnTo>
                  <a:lnTo>
                    <a:pt x="34" y="29"/>
                  </a:lnTo>
                  <a:lnTo>
                    <a:pt x="40" y="17"/>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39"/>
              <a:endParaRPr lang="en-US" sz="2399">
                <a:solidFill>
                  <a:srgbClr val="000000"/>
                </a:solidFill>
              </a:endParaRPr>
            </a:p>
          </p:txBody>
        </p:sp>
        <p:sp>
          <p:nvSpPr>
            <p:cNvPr id="141" name="Freeform 147">
              <a:extLst>
                <a:ext uri="{FF2B5EF4-FFF2-40B4-BE49-F238E27FC236}">
                  <a16:creationId xmlns:a16="http://schemas.microsoft.com/office/drawing/2014/main" id="{6992C06F-3E3A-4860-A814-7DEE5853CD96}"/>
                </a:ext>
              </a:extLst>
            </p:cNvPr>
            <p:cNvSpPr>
              <a:spLocks/>
            </p:cNvSpPr>
            <p:nvPr/>
          </p:nvSpPr>
          <p:spPr bwMode="auto">
            <a:xfrm>
              <a:off x="1103" y="2527"/>
              <a:ext cx="40" cy="35"/>
            </a:xfrm>
            <a:custGeom>
              <a:avLst/>
              <a:gdLst>
                <a:gd name="T0" fmla="*/ 40 w 40"/>
                <a:gd name="T1" fmla="*/ 17 h 35"/>
                <a:gd name="T2" fmla="*/ 34 w 40"/>
                <a:gd name="T3" fmla="*/ 5 h 35"/>
                <a:gd name="T4" fmla="*/ 20 w 40"/>
                <a:gd name="T5" fmla="*/ 0 h 35"/>
                <a:gd name="T6" fmla="*/ 6 w 40"/>
                <a:gd name="T7" fmla="*/ 5 h 35"/>
                <a:gd name="T8" fmla="*/ 0 w 40"/>
                <a:gd name="T9" fmla="*/ 17 h 35"/>
                <a:gd name="T10" fmla="*/ 6 w 40"/>
                <a:gd name="T11" fmla="*/ 29 h 35"/>
                <a:gd name="T12" fmla="*/ 20 w 40"/>
                <a:gd name="T13" fmla="*/ 35 h 35"/>
                <a:gd name="T14" fmla="*/ 34 w 40"/>
                <a:gd name="T15" fmla="*/ 29 h 35"/>
                <a:gd name="T16" fmla="*/ 40 w 40"/>
                <a:gd name="T1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 h="35">
                  <a:moveTo>
                    <a:pt x="40" y="17"/>
                  </a:moveTo>
                  <a:lnTo>
                    <a:pt x="34" y="5"/>
                  </a:lnTo>
                  <a:lnTo>
                    <a:pt x="20" y="0"/>
                  </a:lnTo>
                  <a:lnTo>
                    <a:pt x="6" y="5"/>
                  </a:lnTo>
                  <a:lnTo>
                    <a:pt x="0" y="17"/>
                  </a:lnTo>
                  <a:lnTo>
                    <a:pt x="6" y="29"/>
                  </a:lnTo>
                  <a:lnTo>
                    <a:pt x="20" y="35"/>
                  </a:lnTo>
                  <a:lnTo>
                    <a:pt x="34" y="29"/>
                  </a:lnTo>
                  <a:lnTo>
                    <a:pt x="40" y="17"/>
                  </a:lnTo>
                  <a:close/>
                </a:path>
              </a:pathLst>
            </a:custGeom>
            <a:noFill/>
            <a:ln w="1588" cap="rnd">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grpSp>
      <p:grpSp>
        <p:nvGrpSpPr>
          <p:cNvPr id="142" name="Group 148">
            <a:extLst>
              <a:ext uri="{FF2B5EF4-FFF2-40B4-BE49-F238E27FC236}">
                <a16:creationId xmlns:a16="http://schemas.microsoft.com/office/drawing/2014/main" id="{7F62F7A8-6262-4598-BB14-8BC05A926A02}"/>
              </a:ext>
            </a:extLst>
          </p:cNvPr>
          <p:cNvGrpSpPr>
            <a:grpSpLocks/>
          </p:cNvGrpSpPr>
          <p:nvPr>
            <p:custDataLst>
              <p:tags r:id="rId113"/>
            </p:custDataLst>
          </p:nvPr>
        </p:nvGrpSpPr>
        <p:grpSpPr bwMode="auto">
          <a:xfrm rot="120000">
            <a:off x="7599304" y="3367809"/>
            <a:ext cx="61910" cy="53973"/>
            <a:chOff x="2005" y="2289"/>
            <a:chExt cx="38" cy="34"/>
          </a:xfrm>
        </p:grpSpPr>
        <p:sp>
          <p:nvSpPr>
            <p:cNvPr id="143" name="Freeform 149">
              <a:extLst>
                <a:ext uri="{FF2B5EF4-FFF2-40B4-BE49-F238E27FC236}">
                  <a16:creationId xmlns:a16="http://schemas.microsoft.com/office/drawing/2014/main" id="{90E72A7D-6F65-43A5-B531-EA71BE2E95AF}"/>
                </a:ext>
              </a:extLst>
            </p:cNvPr>
            <p:cNvSpPr>
              <a:spLocks/>
            </p:cNvSpPr>
            <p:nvPr/>
          </p:nvSpPr>
          <p:spPr bwMode="auto">
            <a:xfrm>
              <a:off x="2005" y="2289"/>
              <a:ext cx="38" cy="34"/>
            </a:xfrm>
            <a:custGeom>
              <a:avLst/>
              <a:gdLst>
                <a:gd name="T0" fmla="*/ 38 w 38"/>
                <a:gd name="T1" fmla="*/ 17 h 34"/>
                <a:gd name="T2" fmla="*/ 32 w 38"/>
                <a:gd name="T3" fmla="*/ 5 h 34"/>
                <a:gd name="T4" fmla="*/ 19 w 38"/>
                <a:gd name="T5" fmla="*/ 0 h 34"/>
                <a:gd name="T6" fmla="*/ 6 w 38"/>
                <a:gd name="T7" fmla="*/ 5 h 34"/>
                <a:gd name="T8" fmla="*/ 0 w 38"/>
                <a:gd name="T9" fmla="*/ 17 h 34"/>
                <a:gd name="T10" fmla="*/ 6 w 38"/>
                <a:gd name="T11" fmla="*/ 29 h 34"/>
                <a:gd name="T12" fmla="*/ 19 w 38"/>
                <a:gd name="T13" fmla="*/ 34 h 34"/>
                <a:gd name="T14" fmla="*/ 32 w 38"/>
                <a:gd name="T15" fmla="*/ 29 h 34"/>
                <a:gd name="T16" fmla="*/ 38 w 38"/>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4">
                  <a:moveTo>
                    <a:pt x="38" y="17"/>
                  </a:moveTo>
                  <a:lnTo>
                    <a:pt x="32" y="5"/>
                  </a:lnTo>
                  <a:lnTo>
                    <a:pt x="19" y="0"/>
                  </a:lnTo>
                  <a:lnTo>
                    <a:pt x="6" y="5"/>
                  </a:lnTo>
                  <a:lnTo>
                    <a:pt x="0" y="17"/>
                  </a:lnTo>
                  <a:lnTo>
                    <a:pt x="6" y="29"/>
                  </a:lnTo>
                  <a:lnTo>
                    <a:pt x="19" y="34"/>
                  </a:lnTo>
                  <a:lnTo>
                    <a:pt x="32" y="29"/>
                  </a:lnTo>
                  <a:lnTo>
                    <a:pt x="38" y="17"/>
                  </a:lnTo>
                  <a:close/>
                </a:path>
              </a:pathLst>
            </a:custGeom>
            <a:solidFill>
              <a:srgbClr val="0000FF"/>
            </a:solidFill>
            <a:ln w="9525">
              <a:solidFill>
                <a:srgbClr val="0000FF"/>
              </a:solidFill>
              <a:round/>
              <a:headEnd/>
              <a:tailEnd/>
            </a:ln>
          </p:spPr>
          <p:txBody>
            <a:bodyPr/>
            <a:lstStyle/>
            <a:p>
              <a:pPr defTabSz="609539"/>
              <a:endParaRPr lang="en-US" sz="2399">
                <a:solidFill>
                  <a:srgbClr val="000000"/>
                </a:solidFill>
              </a:endParaRPr>
            </a:p>
          </p:txBody>
        </p:sp>
        <p:sp>
          <p:nvSpPr>
            <p:cNvPr id="144" name="Freeform 150">
              <a:extLst>
                <a:ext uri="{FF2B5EF4-FFF2-40B4-BE49-F238E27FC236}">
                  <a16:creationId xmlns:a16="http://schemas.microsoft.com/office/drawing/2014/main" id="{B6CA3566-7384-406D-85DE-666211E05406}"/>
                </a:ext>
              </a:extLst>
            </p:cNvPr>
            <p:cNvSpPr>
              <a:spLocks/>
            </p:cNvSpPr>
            <p:nvPr/>
          </p:nvSpPr>
          <p:spPr bwMode="auto">
            <a:xfrm>
              <a:off x="2005" y="2289"/>
              <a:ext cx="38" cy="34"/>
            </a:xfrm>
            <a:custGeom>
              <a:avLst/>
              <a:gdLst>
                <a:gd name="T0" fmla="*/ 38 w 38"/>
                <a:gd name="T1" fmla="*/ 17 h 34"/>
                <a:gd name="T2" fmla="*/ 32 w 38"/>
                <a:gd name="T3" fmla="*/ 5 h 34"/>
                <a:gd name="T4" fmla="*/ 19 w 38"/>
                <a:gd name="T5" fmla="*/ 0 h 34"/>
                <a:gd name="T6" fmla="*/ 6 w 38"/>
                <a:gd name="T7" fmla="*/ 5 h 34"/>
                <a:gd name="T8" fmla="*/ 0 w 38"/>
                <a:gd name="T9" fmla="*/ 17 h 34"/>
                <a:gd name="T10" fmla="*/ 6 w 38"/>
                <a:gd name="T11" fmla="*/ 29 h 34"/>
                <a:gd name="T12" fmla="*/ 19 w 38"/>
                <a:gd name="T13" fmla="*/ 34 h 34"/>
                <a:gd name="T14" fmla="*/ 32 w 38"/>
                <a:gd name="T15" fmla="*/ 29 h 34"/>
                <a:gd name="T16" fmla="*/ 38 w 38"/>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4">
                  <a:moveTo>
                    <a:pt x="38" y="17"/>
                  </a:moveTo>
                  <a:lnTo>
                    <a:pt x="32" y="5"/>
                  </a:lnTo>
                  <a:lnTo>
                    <a:pt x="19" y="0"/>
                  </a:lnTo>
                  <a:lnTo>
                    <a:pt x="6" y="5"/>
                  </a:lnTo>
                  <a:lnTo>
                    <a:pt x="0" y="17"/>
                  </a:lnTo>
                  <a:lnTo>
                    <a:pt x="6" y="29"/>
                  </a:lnTo>
                  <a:lnTo>
                    <a:pt x="19" y="34"/>
                  </a:lnTo>
                  <a:lnTo>
                    <a:pt x="32" y="29"/>
                  </a:lnTo>
                  <a:lnTo>
                    <a:pt x="38" y="17"/>
                  </a:lnTo>
                  <a:close/>
                </a:path>
              </a:pathLst>
            </a:custGeom>
            <a:solidFill>
              <a:srgbClr val="0000FF"/>
            </a:solidFill>
            <a:ln w="1588" cap="rnd">
              <a:solidFill>
                <a:srgbClr val="0000FF"/>
              </a:solidFill>
              <a:prstDash val="solid"/>
              <a:round/>
              <a:headEnd/>
              <a:tailEnd/>
            </a:ln>
          </p:spPr>
          <p:txBody>
            <a:bodyPr/>
            <a:lstStyle/>
            <a:p>
              <a:pPr defTabSz="609539"/>
              <a:endParaRPr lang="en-US" sz="2399">
                <a:solidFill>
                  <a:srgbClr val="000000"/>
                </a:solidFill>
              </a:endParaRPr>
            </a:p>
          </p:txBody>
        </p:sp>
      </p:grpSp>
      <p:grpSp>
        <p:nvGrpSpPr>
          <p:cNvPr id="145" name="Group 151">
            <a:extLst>
              <a:ext uri="{FF2B5EF4-FFF2-40B4-BE49-F238E27FC236}">
                <a16:creationId xmlns:a16="http://schemas.microsoft.com/office/drawing/2014/main" id="{A8BA6663-398F-4F48-AC4F-6B9F1BE07DA8}"/>
              </a:ext>
            </a:extLst>
          </p:cNvPr>
          <p:cNvGrpSpPr>
            <a:grpSpLocks/>
          </p:cNvGrpSpPr>
          <p:nvPr>
            <p:custDataLst>
              <p:tags r:id="rId114"/>
            </p:custDataLst>
          </p:nvPr>
        </p:nvGrpSpPr>
        <p:grpSpPr bwMode="auto">
          <a:xfrm rot="120000">
            <a:off x="6492851" y="2809025"/>
            <a:ext cx="61911" cy="58736"/>
            <a:chOff x="1341" y="1973"/>
            <a:chExt cx="38" cy="35"/>
          </a:xfrm>
        </p:grpSpPr>
        <p:sp>
          <p:nvSpPr>
            <p:cNvPr id="146" name="Freeform 152">
              <a:extLst>
                <a:ext uri="{FF2B5EF4-FFF2-40B4-BE49-F238E27FC236}">
                  <a16:creationId xmlns:a16="http://schemas.microsoft.com/office/drawing/2014/main" id="{1043812F-7A4C-4F32-A5CB-97E8C1893BEB}"/>
                </a:ext>
              </a:extLst>
            </p:cNvPr>
            <p:cNvSpPr>
              <a:spLocks/>
            </p:cNvSpPr>
            <p:nvPr/>
          </p:nvSpPr>
          <p:spPr bwMode="auto">
            <a:xfrm>
              <a:off x="1341" y="1973"/>
              <a:ext cx="38" cy="35"/>
            </a:xfrm>
            <a:custGeom>
              <a:avLst/>
              <a:gdLst>
                <a:gd name="T0" fmla="*/ 38 w 38"/>
                <a:gd name="T1" fmla="*/ 18 h 35"/>
                <a:gd name="T2" fmla="*/ 32 w 38"/>
                <a:gd name="T3" fmla="*/ 5 h 35"/>
                <a:gd name="T4" fmla="*/ 19 w 38"/>
                <a:gd name="T5" fmla="*/ 0 h 35"/>
                <a:gd name="T6" fmla="*/ 5 w 38"/>
                <a:gd name="T7" fmla="*/ 5 h 35"/>
                <a:gd name="T8" fmla="*/ 0 w 38"/>
                <a:gd name="T9" fmla="*/ 18 h 35"/>
                <a:gd name="T10" fmla="*/ 5 w 38"/>
                <a:gd name="T11" fmla="*/ 30 h 35"/>
                <a:gd name="T12" fmla="*/ 19 w 38"/>
                <a:gd name="T13" fmla="*/ 35 h 35"/>
                <a:gd name="T14" fmla="*/ 32 w 38"/>
                <a:gd name="T15" fmla="*/ 30 h 35"/>
                <a:gd name="T16" fmla="*/ 38 w 38"/>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8"/>
                  </a:moveTo>
                  <a:lnTo>
                    <a:pt x="32" y="5"/>
                  </a:lnTo>
                  <a:lnTo>
                    <a:pt x="19" y="0"/>
                  </a:lnTo>
                  <a:lnTo>
                    <a:pt x="5" y="5"/>
                  </a:lnTo>
                  <a:lnTo>
                    <a:pt x="0" y="18"/>
                  </a:lnTo>
                  <a:lnTo>
                    <a:pt x="5" y="30"/>
                  </a:lnTo>
                  <a:lnTo>
                    <a:pt x="19" y="35"/>
                  </a:lnTo>
                  <a:lnTo>
                    <a:pt x="32" y="30"/>
                  </a:lnTo>
                  <a:lnTo>
                    <a:pt x="38"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39"/>
              <a:endParaRPr lang="en-US" sz="2399">
                <a:solidFill>
                  <a:srgbClr val="000000"/>
                </a:solidFill>
              </a:endParaRPr>
            </a:p>
          </p:txBody>
        </p:sp>
        <p:sp>
          <p:nvSpPr>
            <p:cNvPr id="147" name="Freeform 153">
              <a:extLst>
                <a:ext uri="{FF2B5EF4-FFF2-40B4-BE49-F238E27FC236}">
                  <a16:creationId xmlns:a16="http://schemas.microsoft.com/office/drawing/2014/main" id="{3B2AA718-4513-46D4-B5A8-AFD14C31B503}"/>
                </a:ext>
              </a:extLst>
            </p:cNvPr>
            <p:cNvSpPr>
              <a:spLocks/>
            </p:cNvSpPr>
            <p:nvPr/>
          </p:nvSpPr>
          <p:spPr bwMode="auto">
            <a:xfrm>
              <a:off x="1341" y="1973"/>
              <a:ext cx="38" cy="35"/>
            </a:xfrm>
            <a:custGeom>
              <a:avLst/>
              <a:gdLst>
                <a:gd name="T0" fmla="*/ 38 w 38"/>
                <a:gd name="T1" fmla="*/ 18 h 35"/>
                <a:gd name="T2" fmla="*/ 32 w 38"/>
                <a:gd name="T3" fmla="*/ 5 h 35"/>
                <a:gd name="T4" fmla="*/ 19 w 38"/>
                <a:gd name="T5" fmla="*/ 0 h 35"/>
                <a:gd name="T6" fmla="*/ 5 w 38"/>
                <a:gd name="T7" fmla="*/ 5 h 35"/>
                <a:gd name="T8" fmla="*/ 0 w 38"/>
                <a:gd name="T9" fmla="*/ 18 h 35"/>
                <a:gd name="T10" fmla="*/ 5 w 38"/>
                <a:gd name="T11" fmla="*/ 30 h 35"/>
                <a:gd name="T12" fmla="*/ 19 w 38"/>
                <a:gd name="T13" fmla="*/ 35 h 35"/>
                <a:gd name="T14" fmla="*/ 32 w 38"/>
                <a:gd name="T15" fmla="*/ 30 h 35"/>
                <a:gd name="T16" fmla="*/ 38 w 38"/>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8"/>
                  </a:moveTo>
                  <a:lnTo>
                    <a:pt x="32" y="5"/>
                  </a:lnTo>
                  <a:lnTo>
                    <a:pt x="19" y="0"/>
                  </a:lnTo>
                  <a:lnTo>
                    <a:pt x="5" y="5"/>
                  </a:lnTo>
                  <a:lnTo>
                    <a:pt x="0" y="18"/>
                  </a:lnTo>
                  <a:lnTo>
                    <a:pt x="5" y="30"/>
                  </a:lnTo>
                  <a:lnTo>
                    <a:pt x="19" y="35"/>
                  </a:lnTo>
                  <a:lnTo>
                    <a:pt x="32" y="30"/>
                  </a:lnTo>
                  <a:lnTo>
                    <a:pt x="38" y="18"/>
                  </a:lnTo>
                  <a:close/>
                </a:path>
              </a:pathLst>
            </a:custGeom>
            <a:noFill/>
            <a:ln w="1588" cap="rnd">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grpSp>
      <p:grpSp>
        <p:nvGrpSpPr>
          <p:cNvPr id="148" name="Group 157">
            <a:extLst>
              <a:ext uri="{FF2B5EF4-FFF2-40B4-BE49-F238E27FC236}">
                <a16:creationId xmlns:a16="http://schemas.microsoft.com/office/drawing/2014/main" id="{C10A5431-ABF9-4704-B15E-DCB2ECA421DA}"/>
              </a:ext>
            </a:extLst>
          </p:cNvPr>
          <p:cNvGrpSpPr>
            <a:grpSpLocks/>
          </p:cNvGrpSpPr>
          <p:nvPr>
            <p:custDataLst>
              <p:tags r:id="rId115"/>
            </p:custDataLst>
          </p:nvPr>
        </p:nvGrpSpPr>
        <p:grpSpPr bwMode="auto">
          <a:xfrm rot="120000">
            <a:off x="10159870" y="2899509"/>
            <a:ext cx="61911" cy="55562"/>
            <a:chOff x="3591" y="1954"/>
            <a:chExt cx="38" cy="34"/>
          </a:xfrm>
        </p:grpSpPr>
        <p:sp>
          <p:nvSpPr>
            <p:cNvPr id="149" name="Freeform 158">
              <a:extLst>
                <a:ext uri="{FF2B5EF4-FFF2-40B4-BE49-F238E27FC236}">
                  <a16:creationId xmlns:a16="http://schemas.microsoft.com/office/drawing/2014/main" id="{B022A4BD-CB27-4C32-A6BA-9AD795E22F1A}"/>
                </a:ext>
              </a:extLst>
            </p:cNvPr>
            <p:cNvSpPr>
              <a:spLocks/>
            </p:cNvSpPr>
            <p:nvPr/>
          </p:nvSpPr>
          <p:spPr bwMode="auto">
            <a:xfrm>
              <a:off x="3591" y="1954"/>
              <a:ext cx="38" cy="34"/>
            </a:xfrm>
            <a:custGeom>
              <a:avLst/>
              <a:gdLst>
                <a:gd name="T0" fmla="*/ 38 w 38"/>
                <a:gd name="T1" fmla="*/ 17 h 34"/>
                <a:gd name="T2" fmla="*/ 33 w 38"/>
                <a:gd name="T3" fmla="*/ 5 h 34"/>
                <a:gd name="T4" fmla="*/ 19 w 38"/>
                <a:gd name="T5" fmla="*/ 0 h 34"/>
                <a:gd name="T6" fmla="*/ 6 w 38"/>
                <a:gd name="T7" fmla="*/ 5 h 34"/>
                <a:gd name="T8" fmla="*/ 0 w 38"/>
                <a:gd name="T9" fmla="*/ 17 h 34"/>
                <a:gd name="T10" fmla="*/ 6 w 38"/>
                <a:gd name="T11" fmla="*/ 29 h 34"/>
                <a:gd name="T12" fmla="*/ 19 w 38"/>
                <a:gd name="T13" fmla="*/ 34 h 34"/>
                <a:gd name="T14" fmla="*/ 33 w 38"/>
                <a:gd name="T15" fmla="*/ 29 h 34"/>
                <a:gd name="T16" fmla="*/ 38 w 38"/>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4">
                  <a:moveTo>
                    <a:pt x="38" y="17"/>
                  </a:moveTo>
                  <a:lnTo>
                    <a:pt x="33" y="5"/>
                  </a:lnTo>
                  <a:lnTo>
                    <a:pt x="19" y="0"/>
                  </a:lnTo>
                  <a:lnTo>
                    <a:pt x="6" y="5"/>
                  </a:lnTo>
                  <a:lnTo>
                    <a:pt x="0" y="17"/>
                  </a:lnTo>
                  <a:lnTo>
                    <a:pt x="6" y="29"/>
                  </a:lnTo>
                  <a:lnTo>
                    <a:pt x="19" y="34"/>
                  </a:lnTo>
                  <a:lnTo>
                    <a:pt x="33" y="29"/>
                  </a:lnTo>
                  <a:lnTo>
                    <a:pt x="38" y="17"/>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39"/>
              <a:endParaRPr lang="en-US" sz="2399">
                <a:solidFill>
                  <a:srgbClr val="000000"/>
                </a:solidFill>
              </a:endParaRPr>
            </a:p>
          </p:txBody>
        </p:sp>
        <p:sp>
          <p:nvSpPr>
            <p:cNvPr id="150" name="Freeform 159">
              <a:extLst>
                <a:ext uri="{FF2B5EF4-FFF2-40B4-BE49-F238E27FC236}">
                  <a16:creationId xmlns:a16="http://schemas.microsoft.com/office/drawing/2014/main" id="{8A367DD1-D1DE-4FBD-9CCE-941C8991A2D7}"/>
                </a:ext>
              </a:extLst>
            </p:cNvPr>
            <p:cNvSpPr>
              <a:spLocks/>
            </p:cNvSpPr>
            <p:nvPr/>
          </p:nvSpPr>
          <p:spPr bwMode="auto">
            <a:xfrm>
              <a:off x="3591" y="1954"/>
              <a:ext cx="38" cy="34"/>
            </a:xfrm>
            <a:custGeom>
              <a:avLst/>
              <a:gdLst>
                <a:gd name="T0" fmla="*/ 38 w 38"/>
                <a:gd name="T1" fmla="*/ 17 h 34"/>
                <a:gd name="T2" fmla="*/ 33 w 38"/>
                <a:gd name="T3" fmla="*/ 5 h 34"/>
                <a:gd name="T4" fmla="*/ 19 w 38"/>
                <a:gd name="T5" fmla="*/ 0 h 34"/>
                <a:gd name="T6" fmla="*/ 6 w 38"/>
                <a:gd name="T7" fmla="*/ 5 h 34"/>
                <a:gd name="T8" fmla="*/ 0 w 38"/>
                <a:gd name="T9" fmla="*/ 17 h 34"/>
                <a:gd name="T10" fmla="*/ 6 w 38"/>
                <a:gd name="T11" fmla="*/ 29 h 34"/>
                <a:gd name="T12" fmla="*/ 19 w 38"/>
                <a:gd name="T13" fmla="*/ 34 h 34"/>
                <a:gd name="T14" fmla="*/ 33 w 38"/>
                <a:gd name="T15" fmla="*/ 29 h 34"/>
                <a:gd name="T16" fmla="*/ 38 w 38"/>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4">
                  <a:moveTo>
                    <a:pt x="38" y="17"/>
                  </a:moveTo>
                  <a:lnTo>
                    <a:pt x="33" y="5"/>
                  </a:lnTo>
                  <a:lnTo>
                    <a:pt x="19" y="0"/>
                  </a:lnTo>
                  <a:lnTo>
                    <a:pt x="6" y="5"/>
                  </a:lnTo>
                  <a:lnTo>
                    <a:pt x="0" y="17"/>
                  </a:lnTo>
                  <a:lnTo>
                    <a:pt x="6" y="29"/>
                  </a:lnTo>
                  <a:lnTo>
                    <a:pt x="19" y="34"/>
                  </a:lnTo>
                  <a:lnTo>
                    <a:pt x="33" y="29"/>
                  </a:lnTo>
                  <a:lnTo>
                    <a:pt x="38" y="17"/>
                  </a:lnTo>
                  <a:close/>
                </a:path>
              </a:pathLst>
            </a:custGeom>
            <a:noFill/>
            <a:ln w="1588" cap="rnd">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grpSp>
      <p:sp>
        <p:nvSpPr>
          <p:cNvPr id="151" name="Rectangle 160">
            <a:extLst>
              <a:ext uri="{FF2B5EF4-FFF2-40B4-BE49-F238E27FC236}">
                <a16:creationId xmlns:a16="http://schemas.microsoft.com/office/drawing/2014/main" id="{1EC2D8D2-2753-4254-989A-A36D4E5B41CF}"/>
              </a:ext>
            </a:extLst>
          </p:cNvPr>
          <p:cNvSpPr>
            <a:spLocks noChangeArrowheads="1"/>
          </p:cNvSpPr>
          <p:nvPr>
            <p:custDataLst>
              <p:tags r:id="rId116"/>
            </p:custDataLst>
          </p:nvPr>
        </p:nvSpPr>
        <p:spPr bwMode="auto">
          <a:xfrm>
            <a:off x="10147168" y="2775686"/>
            <a:ext cx="349445"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b="1" dirty="0">
                <a:solidFill>
                  <a:schemeClr val="bg1"/>
                </a:solidFill>
                <a:effectLst>
                  <a:glow rad="101600">
                    <a:schemeClr val="accent6">
                      <a:satMod val="175000"/>
                      <a:alpha val="40000"/>
                    </a:schemeClr>
                  </a:glow>
                  <a:outerShdw blurRad="38100" dist="38100" dir="2700000" algn="tl">
                    <a:srgbClr val="000000">
                      <a:alpha val="43137"/>
                    </a:srgbClr>
                  </a:outerShdw>
                </a:effectLst>
                <a:latin typeface="+mn-lt"/>
              </a:rPr>
              <a:t>Taiwan</a:t>
            </a:r>
          </a:p>
        </p:txBody>
      </p:sp>
      <p:grpSp>
        <p:nvGrpSpPr>
          <p:cNvPr id="152" name="Group 161">
            <a:extLst>
              <a:ext uri="{FF2B5EF4-FFF2-40B4-BE49-F238E27FC236}">
                <a16:creationId xmlns:a16="http://schemas.microsoft.com/office/drawing/2014/main" id="{4C570218-682E-4468-A7C6-99DC522779C8}"/>
              </a:ext>
            </a:extLst>
          </p:cNvPr>
          <p:cNvGrpSpPr>
            <a:grpSpLocks/>
          </p:cNvGrpSpPr>
          <p:nvPr>
            <p:custDataLst>
              <p:tags r:id="rId117"/>
            </p:custDataLst>
          </p:nvPr>
        </p:nvGrpSpPr>
        <p:grpSpPr bwMode="auto">
          <a:xfrm rot="120000">
            <a:off x="10126532" y="2975705"/>
            <a:ext cx="63498" cy="58737"/>
            <a:chOff x="3564" y="1986"/>
            <a:chExt cx="38" cy="35"/>
          </a:xfrm>
        </p:grpSpPr>
        <p:sp>
          <p:nvSpPr>
            <p:cNvPr id="153" name="Freeform 162">
              <a:extLst>
                <a:ext uri="{FF2B5EF4-FFF2-40B4-BE49-F238E27FC236}">
                  <a16:creationId xmlns:a16="http://schemas.microsoft.com/office/drawing/2014/main" id="{461157B3-AAAD-4528-9493-00E910D72694}"/>
                </a:ext>
              </a:extLst>
            </p:cNvPr>
            <p:cNvSpPr>
              <a:spLocks/>
            </p:cNvSpPr>
            <p:nvPr/>
          </p:nvSpPr>
          <p:spPr bwMode="auto">
            <a:xfrm>
              <a:off x="3564" y="1986"/>
              <a:ext cx="38" cy="35"/>
            </a:xfrm>
            <a:custGeom>
              <a:avLst/>
              <a:gdLst>
                <a:gd name="T0" fmla="*/ 38 w 38"/>
                <a:gd name="T1" fmla="*/ 18 h 35"/>
                <a:gd name="T2" fmla="*/ 32 w 38"/>
                <a:gd name="T3" fmla="*/ 5 h 35"/>
                <a:gd name="T4" fmla="*/ 19 w 38"/>
                <a:gd name="T5" fmla="*/ 0 h 35"/>
                <a:gd name="T6" fmla="*/ 5 w 38"/>
                <a:gd name="T7" fmla="*/ 5 h 35"/>
                <a:gd name="T8" fmla="*/ 0 w 38"/>
                <a:gd name="T9" fmla="*/ 18 h 35"/>
                <a:gd name="T10" fmla="*/ 5 w 38"/>
                <a:gd name="T11" fmla="*/ 30 h 35"/>
                <a:gd name="T12" fmla="*/ 19 w 38"/>
                <a:gd name="T13" fmla="*/ 35 h 35"/>
                <a:gd name="T14" fmla="*/ 32 w 38"/>
                <a:gd name="T15" fmla="*/ 30 h 35"/>
                <a:gd name="T16" fmla="*/ 38 w 38"/>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8"/>
                  </a:moveTo>
                  <a:lnTo>
                    <a:pt x="32" y="5"/>
                  </a:lnTo>
                  <a:lnTo>
                    <a:pt x="19" y="0"/>
                  </a:lnTo>
                  <a:lnTo>
                    <a:pt x="5" y="5"/>
                  </a:lnTo>
                  <a:lnTo>
                    <a:pt x="0" y="18"/>
                  </a:lnTo>
                  <a:lnTo>
                    <a:pt x="5" y="30"/>
                  </a:lnTo>
                  <a:lnTo>
                    <a:pt x="19" y="35"/>
                  </a:lnTo>
                  <a:lnTo>
                    <a:pt x="32" y="30"/>
                  </a:lnTo>
                  <a:lnTo>
                    <a:pt x="38" y="18"/>
                  </a:lnTo>
                  <a:close/>
                </a:path>
              </a:pathLst>
            </a:custGeom>
            <a:solidFill>
              <a:srgbClr val="FB0129"/>
            </a:solidFill>
            <a:ln w="9525">
              <a:solidFill>
                <a:srgbClr val="FB0129"/>
              </a:solidFill>
              <a:round/>
              <a:headEnd/>
              <a:tailEnd/>
            </a:ln>
          </p:spPr>
          <p:txBody>
            <a:bodyPr/>
            <a:lstStyle/>
            <a:p>
              <a:pPr defTabSz="609539"/>
              <a:endParaRPr lang="en-US" sz="2399">
                <a:solidFill>
                  <a:srgbClr val="000000"/>
                </a:solidFill>
              </a:endParaRPr>
            </a:p>
          </p:txBody>
        </p:sp>
        <p:sp>
          <p:nvSpPr>
            <p:cNvPr id="154" name="Freeform 163">
              <a:extLst>
                <a:ext uri="{FF2B5EF4-FFF2-40B4-BE49-F238E27FC236}">
                  <a16:creationId xmlns:a16="http://schemas.microsoft.com/office/drawing/2014/main" id="{16E91F24-B5B6-44ED-913E-6EF53F28A589}"/>
                </a:ext>
              </a:extLst>
            </p:cNvPr>
            <p:cNvSpPr>
              <a:spLocks/>
            </p:cNvSpPr>
            <p:nvPr/>
          </p:nvSpPr>
          <p:spPr bwMode="auto">
            <a:xfrm>
              <a:off x="3564" y="1986"/>
              <a:ext cx="38" cy="35"/>
            </a:xfrm>
            <a:custGeom>
              <a:avLst/>
              <a:gdLst>
                <a:gd name="T0" fmla="*/ 38 w 38"/>
                <a:gd name="T1" fmla="*/ 18 h 35"/>
                <a:gd name="T2" fmla="*/ 32 w 38"/>
                <a:gd name="T3" fmla="*/ 5 h 35"/>
                <a:gd name="T4" fmla="*/ 19 w 38"/>
                <a:gd name="T5" fmla="*/ 0 h 35"/>
                <a:gd name="T6" fmla="*/ 5 w 38"/>
                <a:gd name="T7" fmla="*/ 5 h 35"/>
                <a:gd name="T8" fmla="*/ 0 w 38"/>
                <a:gd name="T9" fmla="*/ 18 h 35"/>
                <a:gd name="T10" fmla="*/ 5 w 38"/>
                <a:gd name="T11" fmla="*/ 30 h 35"/>
                <a:gd name="T12" fmla="*/ 19 w 38"/>
                <a:gd name="T13" fmla="*/ 35 h 35"/>
                <a:gd name="T14" fmla="*/ 32 w 38"/>
                <a:gd name="T15" fmla="*/ 30 h 35"/>
                <a:gd name="T16" fmla="*/ 38 w 38"/>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8"/>
                  </a:moveTo>
                  <a:lnTo>
                    <a:pt x="32" y="5"/>
                  </a:lnTo>
                  <a:lnTo>
                    <a:pt x="19" y="0"/>
                  </a:lnTo>
                  <a:lnTo>
                    <a:pt x="5" y="5"/>
                  </a:lnTo>
                  <a:lnTo>
                    <a:pt x="0" y="18"/>
                  </a:lnTo>
                  <a:lnTo>
                    <a:pt x="5" y="30"/>
                  </a:lnTo>
                  <a:lnTo>
                    <a:pt x="19" y="35"/>
                  </a:lnTo>
                  <a:lnTo>
                    <a:pt x="32" y="30"/>
                  </a:lnTo>
                  <a:lnTo>
                    <a:pt x="38" y="18"/>
                  </a:lnTo>
                  <a:close/>
                </a:path>
              </a:pathLst>
            </a:custGeom>
            <a:solidFill>
              <a:srgbClr val="FB0129"/>
            </a:solidFill>
            <a:ln w="1588" cap="rnd">
              <a:solidFill>
                <a:srgbClr val="FB0129"/>
              </a:solidFill>
              <a:prstDash val="solid"/>
              <a:round/>
              <a:headEnd/>
              <a:tailEnd/>
            </a:ln>
          </p:spPr>
          <p:txBody>
            <a:bodyPr/>
            <a:lstStyle/>
            <a:p>
              <a:pPr defTabSz="609539"/>
              <a:endParaRPr lang="en-US" sz="2399">
                <a:solidFill>
                  <a:srgbClr val="000000"/>
                </a:solidFill>
              </a:endParaRPr>
            </a:p>
          </p:txBody>
        </p:sp>
      </p:grpSp>
      <p:grpSp>
        <p:nvGrpSpPr>
          <p:cNvPr id="155" name="Group 164">
            <a:extLst>
              <a:ext uri="{FF2B5EF4-FFF2-40B4-BE49-F238E27FC236}">
                <a16:creationId xmlns:a16="http://schemas.microsoft.com/office/drawing/2014/main" id="{03C2F746-C08A-49F2-9F23-B20EA5B6BCC9}"/>
              </a:ext>
            </a:extLst>
          </p:cNvPr>
          <p:cNvGrpSpPr>
            <a:grpSpLocks/>
          </p:cNvGrpSpPr>
          <p:nvPr>
            <p:custDataLst>
              <p:tags r:id="rId118"/>
            </p:custDataLst>
          </p:nvPr>
        </p:nvGrpSpPr>
        <p:grpSpPr bwMode="auto">
          <a:xfrm rot="120000">
            <a:off x="9859839" y="2315326"/>
            <a:ext cx="61910" cy="57148"/>
            <a:chOff x="3432" y="1551"/>
            <a:chExt cx="38" cy="35"/>
          </a:xfrm>
        </p:grpSpPr>
        <p:sp>
          <p:nvSpPr>
            <p:cNvPr id="156" name="Freeform 165">
              <a:extLst>
                <a:ext uri="{FF2B5EF4-FFF2-40B4-BE49-F238E27FC236}">
                  <a16:creationId xmlns:a16="http://schemas.microsoft.com/office/drawing/2014/main" id="{B00DD4C0-45FA-4A3A-8619-2FD1CD67A5CE}"/>
                </a:ext>
              </a:extLst>
            </p:cNvPr>
            <p:cNvSpPr>
              <a:spLocks/>
            </p:cNvSpPr>
            <p:nvPr/>
          </p:nvSpPr>
          <p:spPr bwMode="auto">
            <a:xfrm>
              <a:off x="3432" y="1551"/>
              <a:ext cx="38" cy="35"/>
            </a:xfrm>
            <a:custGeom>
              <a:avLst/>
              <a:gdLst>
                <a:gd name="T0" fmla="*/ 38 w 38"/>
                <a:gd name="T1" fmla="*/ 18 h 35"/>
                <a:gd name="T2" fmla="*/ 32 w 38"/>
                <a:gd name="T3" fmla="*/ 5 h 35"/>
                <a:gd name="T4" fmla="*/ 19 w 38"/>
                <a:gd name="T5" fmla="*/ 0 h 35"/>
                <a:gd name="T6" fmla="*/ 6 w 38"/>
                <a:gd name="T7" fmla="*/ 5 h 35"/>
                <a:gd name="T8" fmla="*/ 0 w 38"/>
                <a:gd name="T9" fmla="*/ 18 h 35"/>
                <a:gd name="T10" fmla="*/ 6 w 38"/>
                <a:gd name="T11" fmla="*/ 30 h 35"/>
                <a:gd name="T12" fmla="*/ 19 w 38"/>
                <a:gd name="T13" fmla="*/ 35 h 35"/>
                <a:gd name="T14" fmla="*/ 32 w 38"/>
                <a:gd name="T15" fmla="*/ 30 h 35"/>
                <a:gd name="T16" fmla="*/ 38 w 38"/>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8"/>
                  </a:moveTo>
                  <a:lnTo>
                    <a:pt x="32" y="5"/>
                  </a:lnTo>
                  <a:lnTo>
                    <a:pt x="19" y="0"/>
                  </a:lnTo>
                  <a:lnTo>
                    <a:pt x="6" y="5"/>
                  </a:lnTo>
                  <a:lnTo>
                    <a:pt x="0" y="18"/>
                  </a:lnTo>
                  <a:lnTo>
                    <a:pt x="6" y="30"/>
                  </a:lnTo>
                  <a:lnTo>
                    <a:pt x="19" y="35"/>
                  </a:lnTo>
                  <a:lnTo>
                    <a:pt x="32" y="30"/>
                  </a:lnTo>
                  <a:lnTo>
                    <a:pt x="38" y="18"/>
                  </a:lnTo>
                  <a:close/>
                </a:path>
              </a:pathLst>
            </a:custGeom>
            <a:solidFill>
              <a:srgbClr val="FB0129"/>
            </a:solidFill>
            <a:ln w="9525">
              <a:solidFill>
                <a:srgbClr val="FB0129"/>
              </a:solidFill>
              <a:round/>
              <a:headEnd/>
              <a:tailEnd/>
            </a:ln>
          </p:spPr>
          <p:txBody>
            <a:bodyPr/>
            <a:lstStyle/>
            <a:p>
              <a:pPr defTabSz="609539"/>
              <a:endParaRPr lang="en-US" sz="2399">
                <a:solidFill>
                  <a:srgbClr val="000000"/>
                </a:solidFill>
              </a:endParaRPr>
            </a:p>
          </p:txBody>
        </p:sp>
        <p:sp>
          <p:nvSpPr>
            <p:cNvPr id="157" name="Freeform 166">
              <a:extLst>
                <a:ext uri="{FF2B5EF4-FFF2-40B4-BE49-F238E27FC236}">
                  <a16:creationId xmlns:a16="http://schemas.microsoft.com/office/drawing/2014/main" id="{9167079B-A577-4F0D-B060-EA16DFB6C1FD}"/>
                </a:ext>
              </a:extLst>
            </p:cNvPr>
            <p:cNvSpPr>
              <a:spLocks/>
            </p:cNvSpPr>
            <p:nvPr/>
          </p:nvSpPr>
          <p:spPr bwMode="auto">
            <a:xfrm>
              <a:off x="3432" y="1551"/>
              <a:ext cx="38" cy="35"/>
            </a:xfrm>
            <a:custGeom>
              <a:avLst/>
              <a:gdLst>
                <a:gd name="T0" fmla="*/ 38 w 38"/>
                <a:gd name="T1" fmla="*/ 18 h 35"/>
                <a:gd name="T2" fmla="*/ 32 w 38"/>
                <a:gd name="T3" fmla="*/ 5 h 35"/>
                <a:gd name="T4" fmla="*/ 19 w 38"/>
                <a:gd name="T5" fmla="*/ 0 h 35"/>
                <a:gd name="T6" fmla="*/ 6 w 38"/>
                <a:gd name="T7" fmla="*/ 5 h 35"/>
                <a:gd name="T8" fmla="*/ 0 w 38"/>
                <a:gd name="T9" fmla="*/ 18 h 35"/>
                <a:gd name="T10" fmla="*/ 6 w 38"/>
                <a:gd name="T11" fmla="*/ 30 h 35"/>
                <a:gd name="T12" fmla="*/ 19 w 38"/>
                <a:gd name="T13" fmla="*/ 35 h 35"/>
                <a:gd name="T14" fmla="*/ 32 w 38"/>
                <a:gd name="T15" fmla="*/ 30 h 35"/>
                <a:gd name="T16" fmla="*/ 38 w 38"/>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8"/>
                  </a:moveTo>
                  <a:lnTo>
                    <a:pt x="32" y="5"/>
                  </a:lnTo>
                  <a:lnTo>
                    <a:pt x="19" y="0"/>
                  </a:lnTo>
                  <a:lnTo>
                    <a:pt x="6" y="5"/>
                  </a:lnTo>
                  <a:lnTo>
                    <a:pt x="0" y="18"/>
                  </a:lnTo>
                  <a:lnTo>
                    <a:pt x="6" y="30"/>
                  </a:lnTo>
                  <a:lnTo>
                    <a:pt x="19" y="35"/>
                  </a:lnTo>
                  <a:lnTo>
                    <a:pt x="32" y="30"/>
                  </a:lnTo>
                  <a:lnTo>
                    <a:pt x="38" y="18"/>
                  </a:lnTo>
                  <a:close/>
                </a:path>
              </a:pathLst>
            </a:custGeom>
            <a:solidFill>
              <a:srgbClr val="FB0129"/>
            </a:solidFill>
            <a:ln w="1588" cap="rnd">
              <a:solidFill>
                <a:srgbClr val="FB0129"/>
              </a:solidFill>
              <a:prstDash val="solid"/>
              <a:round/>
              <a:headEnd/>
              <a:tailEnd/>
            </a:ln>
          </p:spPr>
          <p:txBody>
            <a:bodyPr/>
            <a:lstStyle/>
            <a:p>
              <a:pPr defTabSz="609539"/>
              <a:endParaRPr lang="en-US" sz="2399">
                <a:solidFill>
                  <a:srgbClr val="000000"/>
                </a:solidFill>
              </a:endParaRPr>
            </a:p>
          </p:txBody>
        </p:sp>
      </p:grpSp>
      <p:grpSp>
        <p:nvGrpSpPr>
          <p:cNvPr id="158" name="Group 167">
            <a:extLst>
              <a:ext uri="{FF2B5EF4-FFF2-40B4-BE49-F238E27FC236}">
                <a16:creationId xmlns:a16="http://schemas.microsoft.com/office/drawing/2014/main" id="{61F09230-9434-477D-82F4-A1B47A9E19F6}"/>
              </a:ext>
            </a:extLst>
          </p:cNvPr>
          <p:cNvGrpSpPr>
            <a:grpSpLocks/>
          </p:cNvGrpSpPr>
          <p:nvPr>
            <p:custDataLst>
              <p:tags r:id="rId119"/>
            </p:custDataLst>
          </p:nvPr>
        </p:nvGrpSpPr>
        <p:grpSpPr bwMode="auto">
          <a:xfrm rot="120000">
            <a:off x="8937528" y="3524966"/>
            <a:ext cx="63498" cy="57148"/>
            <a:chOff x="2850" y="2371"/>
            <a:chExt cx="38" cy="36"/>
          </a:xfrm>
        </p:grpSpPr>
        <p:sp>
          <p:nvSpPr>
            <p:cNvPr id="159" name="Freeform 168">
              <a:extLst>
                <a:ext uri="{FF2B5EF4-FFF2-40B4-BE49-F238E27FC236}">
                  <a16:creationId xmlns:a16="http://schemas.microsoft.com/office/drawing/2014/main" id="{533F0B0D-0371-4ADC-8A14-358F8E0D2985}"/>
                </a:ext>
              </a:extLst>
            </p:cNvPr>
            <p:cNvSpPr>
              <a:spLocks/>
            </p:cNvSpPr>
            <p:nvPr/>
          </p:nvSpPr>
          <p:spPr bwMode="auto">
            <a:xfrm>
              <a:off x="2850" y="2371"/>
              <a:ext cx="38" cy="36"/>
            </a:xfrm>
            <a:custGeom>
              <a:avLst/>
              <a:gdLst>
                <a:gd name="T0" fmla="*/ 38 w 38"/>
                <a:gd name="T1" fmla="*/ 18 h 36"/>
                <a:gd name="T2" fmla="*/ 32 w 38"/>
                <a:gd name="T3" fmla="*/ 6 h 36"/>
                <a:gd name="T4" fmla="*/ 19 w 38"/>
                <a:gd name="T5" fmla="*/ 0 h 36"/>
                <a:gd name="T6" fmla="*/ 6 w 38"/>
                <a:gd name="T7" fmla="*/ 6 h 36"/>
                <a:gd name="T8" fmla="*/ 0 w 38"/>
                <a:gd name="T9" fmla="*/ 18 h 36"/>
                <a:gd name="T10" fmla="*/ 6 w 38"/>
                <a:gd name="T11" fmla="*/ 30 h 36"/>
                <a:gd name="T12" fmla="*/ 19 w 38"/>
                <a:gd name="T13" fmla="*/ 36 h 36"/>
                <a:gd name="T14" fmla="*/ 32 w 38"/>
                <a:gd name="T15" fmla="*/ 30 h 36"/>
                <a:gd name="T16" fmla="*/ 38 w 38"/>
                <a:gd name="T17"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6">
                  <a:moveTo>
                    <a:pt x="38" y="18"/>
                  </a:moveTo>
                  <a:lnTo>
                    <a:pt x="32" y="6"/>
                  </a:lnTo>
                  <a:lnTo>
                    <a:pt x="19" y="0"/>
                  </a:lnTo>
                  <a:lnTo>
                    <a:pt x="6" y="6"/>
                  </a:lnTo>
                  <a:lnTo>
                    <a:pt x="0" y="18"/>
                  </a:lnTo>
                  <a:lnTo>
                    <a:pt x="6" y="30"/>
                  </a:lnTo>
                  <a:lnTo>
                    <a:pt x="19" y="36"/>
                  </a:lnTo>
                  <a:lnTo>
                    <a:pt x="32" y="30"/>
                  </a:lnTo>
                  <a:lnTo>
                    <a:pt x="38"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39"/>
              <a:endParaRPr lang="en-US" sz="2399">
                <a:solidFill>
                  <a:srgbClr val="000000"/>
                </a:solidFill>
              </a:endParaRPr>
            </a:p>
          </p:txBody>
        </p:sp>
        <p:sp>
          <p:nvSpPr>
            <p:cNvPr id="160" name="Freeform 169">
              <a:extLst>
                <a:ext uri="{FF2B5EF4-FFF2-40B4-BE49-F238E27FC236}">
                  <a16:creationId xmlns:a16="http://schemas.microsoft.com/office/drawing/2014/main" id="{611856BF-FBDD-4476-807B-76CCA6791D9B}"/>
                </a:ext>
              </a:extLst>
            </p:cNvPr>
            <p:cNvSpPr>
              <a:spLocks/>
            </p:cNvSpPr>
            <p:nvPr/>
          </p:nvSpPr>
          <p:spPr bwMode="auto">
            <a:xfrm>
              <a:off x="2850" y="2371"/>
              <a:ext cx="38" cy="36"/>
            </a:xfrm>
            <a:custGeom>
              <a:avLst/>
              <a:gdLst>
                <a:gd name="T0" fmla="*/ 38 w 38"/>
                <a:gd name="T1" fmla="*/ 18 h 36"/>
                <a:gd name="T2" fmla="*/ 32 w 38"/>
                <a:gd name="T3" fmla="*/ 6 h 36"/>
                <a:gd name="T4" fmla="*/ 19 w 38"/>
                <a:gd name="T5" fmla="*/ 0 h 36"/>
                <a:gd name="T6" fmla="*/ 6 w 38"/>
                <a:gd name="T7" fmla="*/ 6 h 36"/>
                <a:gd name="T8" fmla="*/ 0 w 38"/>
                <a:gd name="T9" fmla="*/ 18 h 36"/>
                <a:gd name="T10" fmla="*/ 6 w 38"/>
                <a:gd name="T11" fmla="*/ 30 h 36"/>
                <a:gd name="T12" fmla="*/ 19 w 38"/>
                <a:gd name="T13" fmla="*/ 36 h 36"/>
                <a:gd name="T14" fmla="*/ 32 w 38"/>
                <a:gd name="T15" fmla="*/ 30 h 36"/>
                <a:gd name="T16" fmla="*/ 38 w 38"/>
                <a:gd name="T17"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6">
                  <a:moveTo>
                    <a:pt x="38" y="18"/>
                  </a:moveTo>
                  <a:lnTo>
                    <a:pt x="32" y="6"/>
                  </a:lnTo>
                  <a:lnTo>
                    <a:pt x="19" y="0"/>
                  </a:lnTo>
                  <a:lnTo>
                    <a:pt x="6" y="6"/>
                  </a:lnTo>
                  <a:lnTo>
                    <a:pt x="0" y="18"/>
                  </a:lnTo>
                  <a:lnTo>
                    <a:pt x="6" y="30"/>
                  </a:lnTo>
                  <a:lnTo>
                    <a:pt x="19" y="36"/>
                  </a:lnTo>
                  <a:lnTo>
                    <a:pt x="32" y="30"/>
                  </a:lnTo>
                  <a:lnTo>
                    <a:pt x="38" y="18"/>
                  </a:lnTo>
                  <a:close/>
                </a:path>
              </a:pathLst>
            </a:custGeom>
            <a:noFill/>
            <a:ln w="1588" cap="rnd">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grpSp>
      <p:grpSp>
        <p:nvGrpSpPr>
          <p:cNvPr id="161" name="Group 170">
            <a:extLst>
              <a:ext uri="{FF2B5EF4-FFF2-40B4-BE49-F238E27FC236}">
                <a16:creationId xmlns:a16="http://schemas.microsoft.com/office/drawing/2014/main" id="{EF4BFAF0-0339-485B-9A33-62914BFBD74E}"/>
              </a:ext>
            </a:extLst>
          </p:cNvPr>
          <p:cNvGrpSpPr>
            <a:grpSpLocks/>
          </p:cNvGrpSpPr>
          <p:nvPr>
            <p:custDataLst>
              <p:tags r:id="rId120"/>
            </p:custDataLst>
          </p:nvPr>
        </p:nvGrpSpPr>
        <p:grpSpPr bwMode="auto">
          <a:xfrm rot="120000">
            <a:off x="6583335" y="4194872"/>
            <a:ext cx="60323" cy="53973"/>
            <a:chOff x="1387" y="2898"/>
            <a:chExt cx="38" cy="34"/>
          </a:xfrm>
        </p:grpSpPr>
        <p:sp>
          <p:nvSpPr>
            <p:cNvPr id="162" name="Freeform 171">
              <a:extLst>
                <a:ext uri="{FF2B5EF4-FFF2-40B4-BE49-F238E27FC236}">
                  <a16:creationId xmlns:a16="http://schemas.microsoft.com/office/drawing/2014/main" id="{DC499D86-2CFE-4CF3-B8D6-D437AE731C78}"/>
                </a:ext>
              </a:extLst>
            </p:cNvPr>
            <p:cNvSpPr>
              <a:spLocks/>
            </p:cNvSpPr>
            <p:nvPr/>
          </p:nvSpPr>
          <p:spPr bwMode="auto">
            <a:xfrm>
              <a:off x="1387" y="2898"/>
              <a:ext cx="38" cy="34"/>
            </a:xfrm>
            <a:custGeom>
              <a:avLst/>
              <a:gdLst>
                <a:gd name="T0" fmla="*/ 38 w 38"/>
                <a:gd name="T1" fmla="*/ 17 h 34"/>
                <a:gd name="T2" fmla="*/ 32 w 38"/>
                <a:gd name="T3" fmla="*/ 5 h 34"/>
                <a:gd name="T4" fmla="*/ 19 w 38"/>
                <a:gd name="T5" fmla="*/ 0 h 34"/>
                <a:gd name="T6" fmla="*/ 6 w 38"/>
                <a:gd name="T7" fmla="*/ 5 h 34"/>
                <a:gd name="T8" fmla="*/ 0 w 38"/>
                <a:gd name="T9" fmla="*/ 17 h 34"/>
                <a:gd name="T10" fmla="*/ 6 w 38"/>
                <a:gd name="T11" fmla="*/ 29 h 34"/>
                <a:gd name="T12" fmla="*/ 19 w 38"/>
                <a:gd name="T13" fmla="*/ 34 h 34"/>
                <a:gd name="T14" fmla="*/ 32 w 38"/>
                <a:gd name="T15" fmla="*/ 29 h 34"/>
                <a:gd name="T16" fmla="*/ 38 w 38"/>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4">
                  <a:moveTo>
                    <a:pt x="38" y="17"/>
                  </a:moveTo>
                  <a:lnTo>
                    <a:pt x="32" y="5"/>
                  </a:lnTo>
                  <a:lnTo>
                    <a:pt x="19" y="0"/>
                  </a:lnTo>
                  <a:lnTo>
                    <a:pt x="6" y="5"/>
                  </a:lnTo>
                  <a:lnTo>
                    <a:pt x="0" y="17"/>
                  </a:lnTo>
                  <a:lnTo>
                    <a:pt x="6" y="29"/>
                  </a:lnTo>
                  <a:lnTo>
                    <a:pt x="19" y="34"/>
                  </a:lnTo>
                  <a:lnTo>
                    <a:pt x="32" y="29"/>
                  </a:lnTo>
                  <a:lnTo>
                    <a:pt x="38" y="17"/>
                  </a:lnTo>
                  <a:close/>
                </a:path>
              </a:pathLst>
            </a:custGeom>
            <a:solidFill>
              <a:srgbClr val="FB0129"/>
            </a:solidFill>
            <a:ln w="9525">
              <a:solidFill>
                <a:srgbClr val="FB0129"/>
              </a:solidFill>
              <a:round/>
              <a:headEnd/>
              <a:tailEnd/>
            </a:ln>
          </p:spPr>
          <p:txBody>
            <a:bodyPr/>
            <a:lstStyle/>
            <a:p>
              <a:pPr defTabSz="609539"/>
              <a:endParaRPr lang="en-US" sz="2399">
                <a:solidFill>
                  <a:srgbClr val="000000"/>
                </a:solidFill>
              </a:endParaRPr>
            </a:p>
          </p:txBody>
        </p:sp>
        <p:sp>
          <p:nvSpPr>
            <p:cNvPr id="163" name="Freeform 172">
              <a:extLst>
                <a:ext uri="{FF2B5EF4-FFF2-40B4-BE49-F238E27FC236}">
                  <a16:creationId xmlns:a16="http://schemas.microsoft.com/office/drawing/2014/main" id="{77893D97-A3E3-4D65-A5BD-612A7BA9E359}"/>
                </a:ext>
              </a:extLst>
            </p:cNvPr>
            <p:cNvSpPr>
              <a:spLocks/>
            </p:cNvSpPr>
            <p:nvPr/>
          </p:nvSpPr>
          <p:spPr bwMode="auto">
            <a:xfrm>
              <a:off x="1387" y="2898"/>
              <a:ext cx="38" cy="34"/>
            </a:xfrm>
            <a:custGeom>
              <a:avLst/>
              <a:gdLst>
                <a:gd name="T0" fmla="*/ 38 w 38"/>
                <a:gd name="T1" fmla="*/ 17 h 34"/>
                <a:gd name="T2" fmla="*/ 32 w 38"/>
                <a:gd name="T3" fmla="*/ 5 h 34"/>
                <a:gd name="T4" fmla="*/ 19 w 38"/>
                <a:gd name="T5" fmla="*/ 0 h 34"/>
                <a:gd name="T6" fmla="*/ 6 w 38"/>
                <a:gd name="T7" fmla="*/ 5 h 34"/>
                <a:gd name="T8" fmla="*/ 0 w 38"/>
                <a:gd name="T9" fmla="*/ 17 h 34"/>
                <a:gd name="T10" fmla="*/ 6 w 38"/>
                <a:gd name="T11" fmla="*/ 29 h 34"/>
                <a:gd name="T12" fmla="*/ 19 w 38"/>
                <a:gd name="T13" fmla="*/ 34 h 34"/>
                <a:gd name="T14" fmla="*/ 32 w 38"/>
                <a:gd name="T15" fmla="*/ 29 h 34"/>
                <a:gd name="T16" fmla="*/ 38 w 38"/>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4">
                  <a:moveTo>
                    <a:pt x="38" y="17"/>
                  </a:moveTo>
                  <a:lnTo>
                    <a:pt x="32" y="5"/>
                  </a:lnTo>
                  <a:lnTo>
                    <a:pt x="19" y="0"/>
                  </a:lnTo>
                  <a:lnTo>
                    <a:pt x="6" y="5"/>
                  </a:lnTo>
                  <a:lnTo>
                    <a:pt x="0" y="17"/>
                  </a:lnTo>
                  <a:lnTo>
                    <a:pt x="6" y="29"/>
                  </a:lnTo>
                  <a:lnTo>
                    <a:pt x="19" y="34"/>
                  </a:lnTo>
                  <a:lnTo>
                    <a:pt x="32" y="29"/>
                  </a:lnTo>
                  <a:lnTo>
                    <a:pt x="38" y="17"/>
                  </a:lnTo>
                  <a:close/>
                </a:path>
              </a:pathLst>
            </a:custGeom>
            <a:solidFill>
              <a:srgbClr val="FB0129"/>
            </a:solidFill>
            <a:ln w="1588" cap="rnd">
              <a:solidFill>
                <a:srgbClr val="FB0129"/>
              </a:solidFill>
              <a:prstDash val="solid"/>
              <a:round/>
              <a:headEnd/>
              <a:tailEnd/>
            </a:ln>
          </p:spPr>
          <p:txBody>
            <a:bodyPr/>
            <a:lstStyle/>
            <a:p>
              <a:pPr defTabSz="609539"/>
              <a:endParaRPr lang="en-US" sz="2399">
                <a:solidFill>
                  <a:srgbClr val="000000"/>
                </a:solidFill>
              </a:endParaRPr>
            </a:p>
          </p:txBody>
        </p:sp>
      </p:grpSp>
      <p:grpSp>
        <p:nvGrpSpPr>
          <p:cNvPr id="164" name="Group 173">
            <a:extLst>
              <a:ext uri="{FF2B5EF4-FFF2-40B4-BE49-F238E27FC236}">
                <a16:creationId xmlns:a16="http://schemas.microsoft.com/office/drawing/2014/main" id="{4CF3C397-9246-4E4A-BDD4-CE2A635C6EE5}"/>
              </a:ext>
            </a:extLst>
          </p:cNvPr>
          <p:cNvGrpSpPr>
            <a:grpSpLocks/>
          </p:cNvGrpSpPr>
          <p:nvPr>
            <p:custDataLst>
              <p:tags r:id="rId121"/>
            </p:custDataLst>
          </p:nvPr>
        </p:nvGrpSpPr>
        <p:grpSpPr bwMode="auto">
          <a:xfrm rot="120000">
            <a:off x="6545237" y="4712382"/>
            <a:ext cx="60323" cy="55562"/>
            <a:chOff x="1448" y="3132"/>
            <a:chExt cx="37" cy="34"/>
          </a:xfrm>
        </p:grpSpPr>
        <p:sp>
          <p:nvSpPr>
            <p:cNvPr id="165" name="Freeform 174">
              <a:extLst>
                <a:ext uri="{FF2B5EF4-FFF2-40B4-BE49-F238E27FC236}">
                  <a16:creationId xmlns:a16="http://schemas.microsoft.com/office/drawing/2014/main" id="{908A2B7D-24A8-4F5C-A957-93C8464BBAD6}"/>
                </a:ext>
              </a:extLst>
            </p:cNvPr>
            <p:cNvSpPr>
              <a:spLocks/>
            </p:cNvSpPr>
            <p:nvPr/>
          </p:nvSpPr>
          <p:spPr bwMode="auto">
            <a:xfrm>
              <a:off x="1448" y="3132"/>
              <a:ext cx="37" cy="34"/>
            </a:xfrm>
            <a:custGeom>
              <a:avLst/>
              <a:gdLst>
                <a:gd name="T0" fmla="*/ 37 w 37"/>
                <a:gd name="T1" fmla="*/ 17 h 34"/>
                <a:gd name="T2" fmla="*/ 32 w 37"/>
                <a:gd name="T3" fmla="*/ 5 h 34"/>
                <a:gd name="T4" fmla="*/ 19 w 37"/>
                <a:gd name="T5" fmla="*/ 0 h 34"/>
                <a:gd name="T6" fmla="*/ 5 w 37"/>
                <a:gd name="T7" fmla="*/ 5 h 34"/>
                <a:gd name="T8" fmla="*/ 0 w 37"/>
                <a:gd name="T9" fmla="*/ 17 h 34"/>
                <a:gd name="T10" fmla="*/ 5 w 37"/>
                <a:gd name="T11" fmla="*/ 29 h 34"/>
                <a:gd name="T12" fmla="*/ 19 w 37"/>
                <a:gd name="T13" fmla="*/ 34 h 34"/>
                <a:gd name="T14" fmla="*/ 32 w 37"/>
                <a:gd name="T15" fmla="*/ 29 h 34"/>
                <a:gd name="T16" fmla="*/ 37 w 37"/>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4">
                  <a:moveTo>
                    <a:pt x="37" y="17"/>
                  </a:moveTo>
                  <a:lnTo>
                    <a:pt x="32" y="5"/>
                  </a:lnTo>
                  <a:lnTo>
                    <a:pt x="19" y="0"/>
                  </a:lnTo>
                  <a:lnTo>
                    <a:pt x="5" y="5"/>
                  </a:lnTo>
                  <a:lnTo>
                    <a:pt x="0" y="17"/>
                  </a:lnTo>
                  <a:lnTo>
                    <a:pt x="5" y="29"/>
                  </a:lnTo>
                  <a:lnTo>
                    <a:pt x="19" y="34"/>
                  </a:lnTo>
                  <a:lnTo>
                    <a:pt x="32" y="29"/>
                  </a:lnTo>
                  <a:lnTo>
                    <a:pt x="37" y="17"/>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39"/>
              <a:endParaRPr lang="en-US" sz="2399">
                <a:solidFill>
                  <a:srgbClr val="000000"/>
                </a:solidFill>
              </a:endParaRPr>
            </a:p>
          </p:txBody>
        </p:sp>
        <p:sp>
          <p:nvSpPr>
            <p:cNvPr id="166" name="Freeform 175">
              <a:extLst>
                <a:ext uri="{FF2B5EF4-FFF2-40B4-BE49-F238E27FC236}">
                  <a16:creationId xmlns:a16="http://schemas.microsoft.com/office/drawing/2014/main" id="{B1293368-FDC1-4E29-B170-41E50EFC72FE}"/>
                </a:ext>
              </a:extLst>
            </p:cNvPr>
            <p:cNvSpPr>
              <a:spLocks/>
            </p:cNvSpPr>
            <p:nvPr/>
          </p:nvSpPr>
          <p:spPr bwMode="auto">
            <a:xfrm>
              <a:off x="1448" y="3132"/>
              <a:ext cx="37" cy="34"/>
            </a:xfrm>
            <a:custGeom>
              <a:avLst/>
              <a:gdLst>
                <a:gd name="T0" fmla="*/ 37 w 37"/>
                <a:gd name="T1" fmla="*/ 17 h 34"/>
                <a:gd name="T2" fmla="*/ 32 w 37"/>
                <a:gd name="T3" fmla="*/ 5 h 34"/>
                <a:gd name="T4" fmla="*/ 19 w 37"/>
                <a:gd name="T5" fmla="*/ 0 h 34"/>
                <a:gd name="T6" fmla="*/ 5 w 37"/>
                <a:gd name="T7" fmla="*/ 5 h 34"/>
                <a:gd name="T8" fmla="*/ 0 w 37"/>
                <a:gd name="T9" fmla="*/ 17 h 34"/>
                <a:gd name="T10" fmla="*/ 5 w 37"/>
                <a:gd name="T11" fmla="*/ 29 h 34"/>
                <a:gd name="T12" fmla="*/ 19 w 37"/>
                <a:gd name="T13" fmla="*/ 34 h 34"/>
                <a:gd name="T14" fmla="*/ 32 w 37"/>
                <a:gd name="T15" fmla="*/ 29 h 34"/>
                <a:gd name="T16" fmla="*/ 37 w 37"/>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4">
                  <a:moveTo>
                    <a:pt x="37" y="17"/>
                  </a:moveTo>
                  <a:lnTo>
                    <a:pt x="32" y="5"/>
                  </a:lnTo>
                  <a:lnTo>
                    <a:pt x="19" y="0"/>
                  </a:lnTo>
                  <a:lnTo>
                    <a:pt x="5" y="5"/>
                  </a:lnTo>
                  <a:lnTo>
                    <a:pt x="0" y="17"/>
                  </a:lnTo>
                  <a:lnTo>
                    <a:pt x="5" y="29"/>
                  </a:lnTo>
                  <a:lnTo>
                    <a:pt x="19" y="34"/>
                  </a:lnTo>
                  <a:lnTo>
                    <a:pt x="32" y="29"/>
                  </a:lnTo>
                  <a:lnTo>
                    <a:pt x="37" y="17"/>
                  </a:lnTo>
                  <a:close/>
                </a:path>
              </a:pathLst>
            </a:custGeom>
            <a:noFill/>
            <a:ln w="1588" cap="rnd">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grpSp>
      <p:sp>
        <p:nvSpPr>
          <p:cNvPr id="167" name="Rectangle 177">
            <a:extLst>
              <a:ext uri="{FF2B5EF4-FFF2-40B4-BE49-F238E27FC236}">
                <a16:creationId xmlns:a16="http://schemas.microsoft.com/office/drawing/2014/main" id="{1DAA5571-8D02-43C2-9609-4B40B5FFAA77}"/>
              </a:ext>
            </a:extLst>
          </p:cNvPr>
          <p:cNvSpPr>
            <a:spLocks noChangeArrowheads="1"/>
          </p:cNvSpPr>
          <p:nvPr>
            <p:custDataLst>
              <p:tags r:id="rId122"/>
            </p:custDataLst>
          </p:nvPr>
        </p:nvSpPr>
        <p:spPr bwMode="auto">
          <a:xfrm>
            <a:off x="8370807" y="4056764"/>
            <a:ext cx="406388" cy="111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dirty="0">
                <a:solidFill>
                  <a:srgbClr val="FFFFFF"/>
                </a:solidFill>
                <a:latin typeface="+mn-lt"/>
              </a:rPr>
              <a:t>Bangkok</a:t>
            </a:r>
            <a:endParaRPr lang="en-HK" altLang="en-US" sz="800" b="1" dirty="0">
              <a:solidFill>
                <a:srgbClr val="FFFFFF"/>
              </a:solidFill>
              <a:latin typeface="+mn-lt"/>
            </a:endParaRPr>
          </a:p>
        </p:txBody>
      </p:sp>
      <p:sp>
        <p:nvSpPr>
          <p:cNvPr id="168" name="Rectangle 178">
            <a:extLst>
              <a:ext uri="{FF2B5EF4-FFF2-40B4-BE49-F238E27FC236}">
                <a16:creationId xmlns:a16="http://schemas.microsoft.com/office/drawing/2014/main" id="{0110A402-DD5E-42E0-8215-84CC504795C3}"/>
              </a:ext>
            </a:extLst>
          </p:cNvPr>
          <p:cNvSpPr>
            <a:spLocks noChangeArrowheads="1"/>
          </p:cNvSpPr>
          <p:nvPr>
            <p:custDataLst>
              <p:tags r:id="rId123"/>
            </p:custDataLst>
          </p:nvPr>
        </p:nvSpPr>
        <p:spPr bwMode="auto">
          <a:xfrm>
            <a:off x="9210382" y="3974215"/>
            <a:ext cx="400740"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b="1" dirty="0">
                <a:solidFill>
                  <a:schemeClr val="bg1"/>
                </a:solidFill>
                <a:effectLst>
                  <a:glow rad="101600">
                    <a:schemeClr val="accent6">
                      <a:satMod val="175000"/>
                      <a:alpha val="40000"/>
                    </a:schemeClr>
                  </a:glow>
                  <a:outerShdw blurRad="38100" dist="38100" dir="2700000" algn="tl">
                    <a:srgbClr val="000000">
                      <a:alpha val="43137"/>
                    </a:srgbClr>
                  </a:outerShdw>
                </a:effectLst>
                <a:latin typeface="+mn-lt"/>
              </a:rPr>
              <a:t>Vietnam</a:t>
            </a:r>
          </a:p>
        </p:txBody>
      </p:sp>
      <p:sp>
        <p:nvSpPr>
          <p:cNvPr id="169" name="Rectangle 179">
            <a:extLst>
              <a:ext uri="{FF2B5EF4-FFF2-40B4-BE49-F238E27FC236}">
                <a16:creationId xmlns:a16="http://schemas.microsoft.com/office/drawing/2014/main" id="{192013DF-CF97-4BF4-BB04-4456702A2416}"/>
              </a:ext>
            </a:extLst>
          </p:cNvPr>
          <p:cNvSpPr>
            <a:spLocks noChangeArrowheads="1"/>
          </p:cNvSpPr>
          <p:nvPr>
            <p:custDataLst>
              <p:tags r:id="rId124"/>
            </p:custDataLst>
          </p:nvPr>
        </p:nvSpPr>
        <p:spPr bwMode="auto">
          <a:xfrm>
            <a:off x="9142311" y="4423463"/>
            <a:ext cx="600058" cy="223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dirty="0">
                <a:solidFill>
                  <a:srgbClr val="000000"/>
                </a:solidFill>
                <a:latin typeface="+mn-lt"/>
              </a:rPr>
              <a:t>Ho Chi Minh </a:t>
            </a:r>
            <a:br>
              <a:rPr lang="en-HK" altLang="en-US" sz="800" dirty="0">
                <a:solidFill>
                  <a:srgbClr val="000000"/>
                </a:solidFill>
                <a:latin typeface="+mn-lt"/>
              </a:rPr>
            </a:br>
            <a:r>
              <a:rPr lang="en-HK" altLang="en-US" sz="800" dirty="0">
                <a:solidFill>
                  <a:srgbClr val="000000"/>
                </a:solidFill>
                <a:latin typeface="+mn-lt"/>
              </a:rPr>
              <a:t>City </a:t>
            </a:r>
          </a:p>
        </p:txBody>
      </p:sp>
      <p:sp>
        <p:nvSpPr>
          <p:cNvPr id="170" name="Rectangle 180">
            <a:extLst>
              <a:ext uri="{FF2B5EF4-FFF2-40B4-BE49-F238E27FC236}">
                <a16:creationId xmlns:a16="http://schemas.microsoft.com/office/drawing/2014/main" id="{3D1DA92B-1005-4351-A87A-2FD5CD827FC5}"/>
              </a:ext>
            </a:extLst>
          </p:cNvPr>
          <p:cNvSpPr>
            <a:spLocks noChangeArrowheads="1"/>
          </p:cNvSpPr>
          <p:nvPr>
            <p:custDataLst>
              <p:tags r:id="rId125"/>
            </p:custDataLst>
          </p:nvPr>
        </p:nvSpPr>
        <p:spPr bwMode="auto">
          <a:xfrm>
            <a:off x="8645436" y="5066382"/>
            <a:ext cx="503343" cy="11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b="1" dirty="0">
                <a:solidFill>
                  <a:schemeClr val="bg1"/>
                </a:solidFill>
                <a:effectLst>
                  <a:glow rad="101600">
                    <a:schemeClr val="accent6">
                      <a:satMod val="175000"/>
                      <a:alpha val="40000"/>
                    </a:schemeClr>
                  </a:glow>
                  <a:outerShdw blurRad="38100" dist="38100" dir="2700000" algn="tl">
                    <a:srgbClr val="000000">
                      <a:alpha val="43137"/>
                    </a:srgbClr>
                  </a:outerShdw>
                </a:effectLst>
                <a:latin typeface="+mn-lt"/>
              </a:rPr>
              <a:t>Singapore</a:t>
            </a:r>
          </a:p>
        </p:txBody>
      </p:sp>
      <p:sp>
        <p:nvSpPr>
          <p:cNvPr id="171" name="Rectangle 181">
            <a:extLst>
              <a:ext uri="{FF2B5EF4-FFF2-40B4-BE49-F238E27FC236}">
                <a16:creationId xmlns:a16="http://schemas.microsoft.com/office/drawing/2014/main" id="{AA15A5FC-1D33-4947-ABB4-66BB911E0EE2}"/>
              </a:ext>
            </a:extLst>
          </p:cNvPr>
          <p:cNvSpPr>
            <a:spLocks noChangeArrowheads="1"/>
          </p:cNvSpPr>
          <p:nvPr>
            <p:custDataLst>
              <p:tags r:id="rId126"/>
            </p:custDataLst>
          </p:nvPr>
        </p:nvSpPr>
        <p:spPr bwMode="auto">
          <a:xfrm>
            <a:off x="9072461" y="5993456"/>
            <a:ext cx="338224"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a:solidFill>
                  <a:srgbClr val="000000"/>
                </a:solidFill>
                <a:latin typeface="+mn-lt"/>
              </a:rPr>
              <a:t>Jakarta</a:t>
            </a:r>
          </a:p>
        </p:txBody>
      </p:sp>
      <p:sp>
        <p:nvSpPr>
          <p:cNvPr id="172" name="Rectangle 182">
            <a:extLst>
              <a:ext uri="{FF2B5EF4-FFF2-40B4-BE49-F238E27FC236}">
                <a16:creationId xmlns:a16="http://schemas.microsoft.com/office/drawing/2014/main" id="{CDEDA777-E7D3-438F-96D8-6EB394CA6AF1}"/>
              </a:ext>
            </a:extLst>
          </p:cNvPr>
          <p:cNvSpPr>
            <a:spLocks noChangeArrowheads="1"/>
          </p:cNvSpPr>
          <p:nvPr>
            <p:custDataLst>
              <p:tags r:id="rId127"/>
            </p:custDataLst>
          </p:nvPr>
        </p:nvSpPr>
        <p:spPr bwMode="auto">
          <a:xfrm>
            <a:off x="9604258" y="6004567"/>
            <a:ext cx="415166"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a:solidFill>
                  <a:srgbClr val="000000"/>
                </a:solidFill>
                <a:latin typeface="+mn-lt"/>
              </a:rPr>
              <a:t>Bandung</a:t>
            </a:r>
          </a:p>
        </p:txBody>
      </p:sp>
      <p:sp>
        <p:nvSpPr>
          <p:cNvPr id="173" name="Rectangle 183">
            <a:extLst>
              <a:ext uri="{FF2B5EF4-FFF2-40B4-BE49-F238E27FC236}">
                <a16:creationId xmlns:a16="http://schemas.microsoft.com/office/drawing/2014/main" id="{9EFCF53F-39EA-4664-9980-052CAEECFA92}"/>
              </a:ext>
            </a:extLst>
          </p:cNvPr>
          <p:cNvSpPr>
            <a:spLocks noChangeArrowheads="1"/>
          </p:cNvSpPr>
          <p:nvPr>
            <p:custDataLst>
              <p:tags r:id="rId128"/>
            </p:custDataLst>
          </p:nvPr>
        </p:nvSpPr>
        <p:spPr bwMode="auto">
          <a:xfrm>
            <a:off x="10850411" y="4013902"/>
            <a:ext cx="555609" cy="112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b="1" dirty="0">
                <a:solidFill>
                  <a:schemeClr val="bg1"/>
                </a:solidFill>
                <a:effectLst>
                  <a:glow rad="101600">
                    <a:schemeClr val="accent6">
                      <a:satMod val="175000"/>
                      <a:alpha val="40000"/>
                    </a:schemeClr>
                  </a:glow>
                  <a:outerShdw blurRad="38100" dist="38100" dir="2700000" algn="tl">
                    <a:srgbClr val="000000">
                      <a:alpha val="43137"/>
                    </a:srgbClr>
                  </a:outerShdw>
                </a:effectLst>
                <a:latin typeface="+mn-lt"/>
              </a:rPr>
              <a:t>Philippines</a:t>
            </a:r>
          </a:p>
        </p:txBody>
      </p:sp>
      <p:sp>
        <p:nvSpPr>
          <p:cNvPr id="174" name="Rectangle 185">
            <a:extLst>
              <a:ext uri="{FF2B5EF4-FFF2-40B4-BE49-F238E27FC236}">
                <a16:creationId xmlns:a16="http://schemas.microsoft.com/office/drawing/2014/main" id="{5D4BA77D-A795-45DA-AF6B-BCC07E5E896C}"/>
              </a:ext>
            </a:extLst>
          </p:cNvPr>
          <p:cNvSpPr>
            <a:spLocks noChangeArrowheads="1"/>
          </p:cNvSpPr>
          <p:nvPr>
            <p:custDataLst>
              <p:tags r:id="rId129"/>
            </p:custDataLst>
          </p:nvPr>
        </p:nvSpPr>
        <p:spPr bwMode="auto">
          <a:xfrm>
            <a:off x="8770846" y="3429717"/>
            <a:ext cx="269296"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dirty="0">
                <a:solidFill>
                  <a:srgbClr val="FFFFFF"/>
                </a:solidFill>
                <a:latin typeface="+mn-lt"/>
              </a:rPr>
              <a:t>Hanoi</a:t>
            </a:r>
          </a:p>
        </p:txBody>
      </p:sp>
      <p:sp>
        <p:nvSpPr>
          <p:cNvPr id="175" name="Rectangle 186">
            <a:extLst>
              <a:ext uri="{FF2B5EF4-FFF2-40B4-BE49-F238E27FC236}">
                <a16:creationId xmlns:a16="http://schemas.microsoft.com/office/drawing/2014/main" id="{6BCDD024-3FC2-45E6-8B01-4C92927776D5}"/>
              </a:ext>
            </a:extLst>
          </p:cNvPr>
          <p:cNvSpPr>
            <a:spLocks noChangeArrowheads="1"/>
          </p:cNvSpPr>
          <p:nvPr>
            <p:custDataLst>
              <p:tags r:id="rId130"/>
            </p:custDataLst>
          </p:nvPr>
        </p:nvSpPr>
        <p:spPr bwMode="auto">
          <a:xfrm>
            <a:off x="8580352" y="4937801"/>
            <a:ext cx="434963" cy="111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b="1" dirty="0">
                <a:solidFill>
                  <a:schemeClr val="bg1"/>
                </a:solidFill>
                <a:effectLst>
                  <a:glow rad="101600">
                    <a:schemeClr val="accent6">
                      <a:satMod val="175000"/>
                      <a:alpha val="40000"/>
                    </a:schemeClr>
                  </a:glow>
                  <a:outerShdw blurRad="38100" dist="38100" dir="2700000" algn="tl">
                    <a:srgbClr val="000000">
                      <a:alpha val="43137"/>
                    </a:srgbClr>
                  </a:outerShdw>
                </a:effectLst>
                <a:latin typeface="+mn-lt"/>
              </a:rPr>
              <a:t>Malaysia</a:t>
            </a:r>
          </a:p>
        </p:txBody>
      </p:sp>
      <p:sp>
        <p:nvSpPr>
          <p:cNvPr id="176" name="Rectangle 187">
            <a:extLst>
              <a:ext uri="{FF2B5EF4-FFF2-40B4-BE49-F238E27FC236}">
                <a16:creationId xmlns:a16="http://schemas.microsoft.com/office/drawing/2014/main" id="{BA5D52EE-0C2D-4BE3-B964-0B4DA94E0C49}"/>
              </a:ext>
            </a:extLst>
          </p:cNvPr>
          <p:cNvSpPr>
            <a:spLocks noChangeArrowheads="1"/>
          </p:cNvSpPr>
          <p:nvPr>
            <p:custDataLst>
              <p:tags r:id="rId131"/>
            </p:custDataLst>
          </p:nvPr>
        </p:nvSpPr>
        <p:spPr bwMode="auto">
          <a:xfrm>
            <a:off x="7300865" y="3329708"/>
            <a:ext cx="298150"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dirty="0">
                <a:solidFill>
                  <a:srgbClr val="FFFFFF"/>
                </a:solidFill>
                <a:latin typeface="+mn-lt"/>
              </a:rPr>
              <a:t>Dhaka</a:t>
            </a:r>
          </a:p>
        </p:txBody>
      </p:sp>
      <p:sp>
        <p:nvSpPr>
          <p:cNvPr id="177" name="Rectangle 188">
            <a:extLst>
              <a:ext uri="{FF2B5EF4-FFF2-40B4-BE49-F238E27FC236}">
                <a16:creationId xmlns:a16="http://schemas.microsoft.com/office/drawing/2014/main" id="{72DC5EDC-C7E2-4677-8577-1F7943A0B815}"/>
              </a:ext>
            </a:extLst>
          </p:cNvPr>
          <p:cNvSpPr>
            <a:spLocks noChangeArrowheads="1"/>
          </p:cNvSpPr>
          <p:nvPr>
            <p:custDataLst>
              <p:tags r:id="rId132"/>
            </p:custDataLst>
          </p:nvPr>
        </p:nvSpPr>
        <p:spPr bwMode="auto">
          <a:xfrm>
            <a:off x="6118209" y="4677456"/>
            <a:ext cx="411960"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a:solidFill>
                  <a:srgbClr val="000000"/>
                </a:solidFill>
                <a:latin typeface="+mn-lt"/>
              </a:rPr>
              <a:t>Colombo</a:t>
            </a:r>
          </a:p>
        </p:txBody>
      </p:sp>
      <p:sp>
        <p:nvSpPr>
          <p:cNvPr id="178" name="Rectangle 189">
            <a:extLst>
              <a:ext uri="{FF2B5EF4-FFF2-40B4-BE49-F238E27FC236}">
                <a16:creationId xmlns:a16="http://schemas.microsoft.com/office/drawing/2014/main" id="{C5D555AC-3855-4389-84F2-2C8B2578A134}"/>
              </a:ext>
            </a:extLst>
          </p:cNvPr>
          <p:cNvSpPr>
            <a:spLocks noChangeArrowheads="1"/>
          </p:cNvSpPr>
          <p:nvPr>
            <p:custDataLst>
              <p:tags r:id="rId133"/>
            </p:custDataLst>
          </p:nvPr>
        </p:nvSpPr>
        <p:spPr bwMode="auto">
          <a:xfrm>
            <a:off x="5829294" y="4239319"/>
            <a:ext cx="471269"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a:solidFill>
                  <a:srgbClr val="000000"/>
                </a:solidFill>
                <a:latin typeface="+mn-lt"/>
              </a:rPr>
              <a:t>Bangalore</a:t>
            </a:r>
          </a:p>
        </p:txBody>
      </p:sp>
      <p:sp>
        <p:nvSpPr>
          <p:cNvPr id="179" name="Rectangle 190">
            <a:extLst>
              <a:ext uri="{FF2B5EF4-FFF2-40B4-BE49-F238E27FC236}">
                <a16:creationId xmlns:a16="http://schemas.microsoft.com/office/drawing/2014/main" id="{2E8732D9-784B-42A9-AF14-B8EAEC5E479C}"/>
              </a:ext>
            </a:extLst>
          </p:cNvPr>
          <p:cNvSpPr>
            <a:spLocks noChangeArrowheads="1"/>
          </p:cNvSpPr>
          <p:nvPr>
            <p:custDataLst>
              <p:tags r:id="rId134"/>
            </p:custDataLst>
          </p:nvPr>
        </p:nvSpPr>
        <p:spPr bwMode="auto">
          <a:xfrm>
            <a:off x="6681757" y="4186934"/>
            <a:ext cx="384710"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a:solidFill>
                  <a:srgbClr val="FB0129"/>
                </a:solidFill>
                <a:latin typeface="+mn-lt"/>
              </a:rPr>
              <a:t>Chennai</a:t>
            </a:r>
          </a:p>
        </p:txBody>
      </p:sp>
      <p:sp>
        <p:nvSpPr>
          <p:cNvPr id="180" name="Rectangle 191">
            <a:extLst>
              <a:ext uri="{FF2B5EF4-FFF2-40B4-BE49-F238E27FC236}">
                <a16:creationId xmlns:a16="http://schemas.microsoft.com/office/drawing/2014/main" id="{C3CEF885-7543-4B51-88DA-2F447299D308}"/>
              </a:ext>
            </a:extLst>
          </p:cNvPr>
          <p:cNvSpPr>
            <a:spLocks noChangeArrowheads="1"/>
          </p:cNvSpPr>
          <p:nvPr>
            <p:custDataLst>
              <p:tags r:id="rId135"/>
            </p:custDataLst>
          </p:nvPr>
        </p:nvSpPr>
        <p:spPr bwMode="auto">
          <a:xfrm>
            <a:off x="5640387" y="3397968"/>
            <a:ext cx="365475"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dirty="0">
                <a:solidFill>
                  <a:srgbClr val="000000"/>
                </a:solidFill>
                <a:latin typeface="+mn-lt"/>
              </a:rPr>
              <a:t>Mumbai</a:t>
            </a:r>
          </a:p>
        </p:txBody>
      </p:sp>
      <p:sp>
        <p:nvSpPr>
          <p:cNvPr id="181" name="Rectangle 192">
            <a:extLst>
              <a:ext uri="{FF2B5EF4-FFF2-40B4-BE49-F238E27FC236}">
                <a16:creationId xmlns:a16="http://schemas.microsoft.com/office/drawing/2014/main" id="{239940D9-C41A-4251-B9A5-1F4A3A1BD6FB}"/>
              </a:ext>
            </a:extLst>
          </p:cNvPr>
          <p:cNvSpPr>
            <a:spLocks noChangeArrowheads="1"/>
          </p:cNvSpPr>
          <p:nvPr>
            <p:custDataLst>
              <p:tags r:id="rId136"/>
            </p:custDataLst>
          </p:nvPr>
        </p:nvSpPr>
        <p:spPr bwMode="auto">
          <a:xfrm>
            <a:off x="6310293" y="2704251"/>
            <a:ext cx="468063"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a:solidFill>
                  <a:srgbClr val="000000"/>
                </a:solidFill>
                <a:latin typeface="+mn-lt"/>
              </a:rPr>
              <a:t>New Delhi</a:t>
            </a:r>
          </a:p>
        </p:txBody>
      </p:sp>
      <p:sp>
        <p:nvSpPr>
          <p:cNvPr id="182" name="Rectangle 193">
            <a:extLst>
              <a:ext uri="{FF2B5EF4-FFF2-40B4-BE49-F238E27FC236}">
                <a16:creationId xmlns:a16="http://schemas.microsoft.com/office/drawing/2014/main" id="{093EB4DF-03A5-4993-9D39-07DA32993E96}"/>
              </a:ext>
            </a:extLst>
          </p:cNvPr>
          <p:cNvSpPr>
            <a:spLocks noChangeArrowheads="1"/>
          </p:cNvSpPr>
          <p:nvPr>
            <p:custDataLst>
              <p:tags r:id="rId137"/>
            </p:custDataLst>
          </p:nvPr>
        </p:nvSpPr>
        <p:spPr bwMode="auto">
          <a:xfrm>
            <a:off x="9493137" y="2289926"/>
            <a:ext cx="351048"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a:solidFill>
                  <a:srgbClr val="FB0129"/>
                </a:solidFill>
                <a:latin typeface="+mn-lt"/>
              </a:rPr>
              <a:t>Suzhou</a:t>
            </a:r>
          </a:p>
        </p:txBody>
      </p:sp>
      <p:sp>
        <p:nvSpPr>
          <p:cNvPr id="183" name="Rectangle 194">
            <a:extLst>
              <a:ext uri="{FF2B5EF4-FFF2-40B4-BE49-F238E27FC236}">
                <a16:creationId xmlns:a16="http://schemas.microsoft.com/office/drawing/2014/main" id="{3FF1F208-1C56-4F4A-A9DB-852C98F049D2}"/>
              </a:ext>
            </a:extLst>
          </p:cNvPr>
          <p:cNvSpPr>
            <a:spLocks noChangeArrowheads="1"/>
          </p:cNvSpPr>
          <p:nvPr>
            <p:custDataLst>
              <p:tags r:id="rId138"/>
            </p:custDataLst>
          </p:nvPr>
        </p:nvSpPr>
        <p:spPr bwMode="auto">
          <a:xfrm>
            <a:off x="8904193" y="3121751"/>
            <a:ext cx="535388"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a:solidFill>
                  <a:srgbClr val="000000"/>
                </a:solidFill>
                <a:latin typeface="+mn-lt"/>
              </a:rPr>
              <a:t>Guangzhou</a:t>
            </a:r>
            <a:endParaRPr lang="en-HK" altLang="en-US" sz="800" b="1">
              <a:solidFill>
                <a:srgbClr val="000000"/>
              </a:solidFill>
              <a:latin typeface="+mn-lt"/>
            </a:endParaRPr>
          </a:p>
        </p:txBody>
      </p:sp>
      <p:sp>
        <p:nvSpPr>
          <p:cNvPr id="184" name="Rectangle 195">
            <a:extLst>
              <a:ext uri="{FF2B5EF4-FFF2-40B4-BE49-F238E27FC236}">
                <a16:creationId xmlns:a16="http://schemas.microsoft.com/office/drawing/2014/main" id="{9367ADF6-CE12-445B-8514-EEDBDD21C740}"/>
              </a:ext>
            </a:extLst>
          </p:cNvPr>
          <p:cNvSpPr>
            <a:spLocks noChangeArrowheads="1"/>
          </p:cNvSpPr>
          <p:nvPr>
            <p:custDataLst>
              <p:tags r:id="rId139"/>
            </p:custDataLst>
          </p:nvPr>
        </p:nvSpPr>
        <p:spPr bwMode="auto">
          <a:xfrm>
            <a:off x="10247178" y="2874109"/>
            <a:ext cx="280518"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a:solidFill>
                  <a:srgbClr val="000000"/>
                </a:solidFill>
                <a:latin typeface="+mn-lt"/>
              </a:rPr>
              <a:t>Taipei</a:t>
            </a:r>
          </a:p>
        </p:txBody>
      </p:sp>
      <p:sp>
        <p:nvSpPr>
          <p:cNvPr id="185" name="Rectangle 196">
            <a:extLst>
              <a:ext uri="{FF2B5EF4-FFF2-40B4-BE49-F238E27FC236}">
                <a16:creationId xmlns:a16="http://schemas.microsoft.com/office/drawing/2014/main" id="{FB59EB2B-3358-4A5D-973F-70B653D1349B}"/>
              </a:ext>
            </a:extLst>
          </p:cNvPr>
          <p:cNvSpPr>
            <a:spLocks noChangeArrowheads="1"/>
          </p:cNvSpPr>
          <p:nvPr>
            <p:custDataLst>
              <p:tags r:id="rId140"/>
            </p:custDataLst>
          </p:nvPr>
        </p:nvSpPr>
        <p:spPr bwMode="auto">
          <a:xfrm>
            <a:off x="10099545" y="2272464"/>
            <a:ext cx="441312" cy="112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a:solidFill>
                  <a:srgbClr val="000000"/>
                </a:solidFill>
                <a:latin typeface="+mn-lt"/>
              </a:rPr>
              <a:t>Shanghai</a:t>
            </a:r>
          </a:p>
        </p:txBody>
      </p:sp>
      <p:sp>
        <p:nvSpPr>
          <p:cNvPr id="186" name="Rectangle 197">
            <a:extLst>
              <a:ext uri="{FF2B5EF4-FFF2-40B4-BE49-F238E27FC236}">
                <a16:creationId xmlns:a16="http://schemas.microsoft.com/office/drawing/2014/main" id="{0C6C60F6-9721-4D1D-8E13-24FCEC6373DB}"/>
              </a:ext>
            </a:extLst>
          </p:cNvPr>
          <p:cNvSpPr>
            <a:spLocks noChangeArrowheads="1"/>
          </p:cNvSpPr>
          <p:nvPr>
            <p:custDataLst>
              <p:tags r:id="rId141"/>
            </p:custDataLst>
          </p:nvPr>
        </p:nvSpPr>
        <p:spPr bwMode="auto">
          <a:xfrm>
            <a:off x="9108972" y="1643832"/>
            <a:ext cx="309371"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dirty="0">
                <a:solidFill>
                  <a:srgbClr val="000000"/>
                </a:solidFill>
                <a:latin typeface="+mn-lt"/>
              </a:rPr>
              <a:t>Beijing</a:t>
            </a:r>
          </a:p>
        </p:txBody>
      </p:sp>
      <p:grpSp>
        <p:nvGrpSpPr>
          <p:cNvPr id="187" name="Group 198">
            <a:extLst>
              <a:ext uri="{FF2B5EF4-FFF2-40B4-BE49-F238E27FC236}">
                <a16:creationId xmlns:a16="http://schemas.microsoft.com/office/drawing/2014/main" id="{97DB8874-ABFA-432E-A509-572557DB7BA5}"/>
              </a:ext>
            </a:extLst>
          </p:cNvPr>
          <p:cNvGrpSpPr>
            <a:grpSpLocks/>
          </p:cNvGrpSpPr>
          <p:nvPr>
            <p:custDataLst>
              <p:tags r:id="rId142"/>
            </p:custDataLst>
          </p:nvPr>
        </p:nvGrpSpPr>
        <p:grpSpPr bwMode="auto">
          <a:xfrm rot="120000">
            <a:off x="10231305" y="1683518"/>
            <a:ext cx="60323" cy="57148"/>
            <a:chOff x="3685" y="1312"/>
            <a:chExt cx="37" cy="34"/>
          </a:xfrm>
        </p:grpSpPr>
        <p:sp>
          <p:nvSpPr>
            <p:cNvPr id="188" name="Freeform 199">
              <a:extLst>
                <a:ext uri="{FF2B5EF4-FFF2-40B4-BE49-F238E27FC236}">
                  <a16:creationId xmlns:a16="http://schemas.microsoft.com/office/drawing/2014/main" id="{ADF5358F-94DD-470C-B8E1-C5C5F6E04D09}"/>
                </a:ext>
              </a:extLst>
            </p:cNvPr>
            <p:cNvSpPr>
              <a:spLocks/>
            </p:cNvSpPr>
            <p:nvPr/>
          </p:nvSpPr>
          <p:spPr bwMode="auto">
            <a:xfrm>
              <a:off x="3685" y="1312"/>
              <a:ext cx="37" cy="34"/>
            </a:xfrm>
            <a:custGeom>
              <a:avLst/>
              <a:gdLst>
                <a:gd name="T0" fmla="*/ 37 w 37"/>
                <a:gd name="T1" fmla="*/ 17 h 34"/>
                <a:gd name="T2" fmla="*/ 32 w 37"/>
                <a:gd name="T3" fmla="*/ 5 h 34"/>
                <a:gd name="T4" fmla="*/ 19 w 37"/>
                <a:gd name="T5" fmla="*/ 0 h 34"/>
                <a:gd name="T6" fmla="*/ 5 w 37"/>
                <a:gd name="T7" fmla="*/ 5 h 34"/>
                <a:gd name="T8" fmla="*/ 0 w 37"/>
                <a:gd name="T9" fmla="*/ 17 h 34"/>
                <a:gd name="T10" fmla="*/ 5 w 37"/>
                <a:gd name="T11" fmla="*/ 29 h 34"/>
                <a:gd name="T12" fmla="*/ 19 w 37"/>
                <a:gd name="T13" fmla="*/ 34 h 34"/>
                <a:gd name="T14" fmla="*/ 32 w 37"/>
                <a:gd name="T15" fmla="*/ 29 h 34"/>
                <a:gd name="T16" fmla="*/ 37 w 37"/>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4">
                  <a:moveTo>
                    <a:pt x="37" y="17"/>
                  </a:moveTo>
                  <a:lnTo>
                    <a:pt x="32" y="5"/>
                  </a:lnTo>
                  <a:lnTo>
                    <a:pt x="19" y="0"/>
                  </a:lnTo>
                  <a:lnTo>
                    <a:pt x="5" y="5"/>
                  </a:lnTo>
                  <a:lnTo>
                    <a:pt x="0" y="17"/>
                  </a:lnTo>
                  <a:lnTo>
                    <a:pt x="5" y="29"/>
                  </a:lnTo>
                  <a:lnTo>
                    <a:pt x="19" y="34"/>
                  </a:lnTo>
                  <a:lnTo>
                    <a:pt x="32" y="29"/>
                  </a:lnTo>
                  <a:lnTo>
                    <a:pt x="37" y="17"/>
                  </a:lnTo>
                  <a:close/>
                </a:path>
              </a:pathLst>
            </a:custGeom>
            <a:solidFill>
              <a:srgbClr val="0000FF"/>
            </a:solidFill>
            <a:ln w="9525">
              <a:solidFill>
                <a:srgbClr val="0000FF"/>
              </a:solidFill>
              <a:round/>
              <a:headEnd/>
              <a:tailEnd/>
            </a:ln>
          </p:spPr>
          <p:txBody>
            <a:bodyPr/>
            <a:lstStyle/>
            <a:p>
              <a:pPr defTabSz="609539"/>
              <a:endParaRPr lang="en-US" sz="2399">
                <a:solidFill>
                  <a:srgbClr val="000000"/>
                </a:solidFill>
              </a:endParaRPr>
            </a:p>
          </p:txBody>
        </p:sp>
        <p:sp>
          <p:nvSpPr>
            <p:cNvPr id="189" name="Freeform 200">
              <a:extLst>
                <a:ext uri="{FF2B5EF4-FFF2-40B4-BE49-F238E27FC236}">
                  <a16:creationId xmlns:a16="http://schemas.microsoft.com/office/drawing/2014/main" id="{545D9F07-2A18-456E-83F1-53A8B2A39055}"/>
                </a:ext>
              </a:extLst>
            </p:cNvPr>
            <p:cNvSpPr>
              <a:spLocks/>
            </p:cNvSpPr>
            <p:nvPr/>
          </p:nvSpPr>
          <p:spPr bwMode="auto">
            <a:xfrm>
              <a:off x="3685" y="1312"/>
              <a:ext cx="37" cy="34"/>
            </a:xfrm>
            <a:custGeom>
              <a:avLst/>
              <a:gdLst>
                <a:gd name="T0" fmla="*/ 37 w 37"/>
                <a:gd name="T1" fmla="*/ 17 h 34"/>
                <a:gd name="T2" fmla="*/ 32 w 37"/>
                <a:gd name="T3" fmla="*/ 5 h 34"/>
                <a:gd name="T4" fmla="*/ 19 w 37"/>
                <a:gd name="T5" fmla="*/ 0 h 34"/>
                <a:gd name="T6" fmla="*/ 5 w 37"/>
                <a:gd name="T7" fmla="*/ 5 h 34"/>
                <a:gd name="T8" fmla="*/ 0 w 37"/>
                <a:gd name="T9" fmla="*/ 17 h 34"/>
                <a:gd name="T10" fmla="*/ 5 w 37"/>
                <a:gd name="T11" fmla="*/ 29 h 34"/>
                <a:gd name="T12" fmla="*/ 19 w 37"/>
                <a:gd name="T13" fmla="*/ 34 h 34"/>
                <a:gd name="T14" fmla="*/ 32 w 37"/>
                <a:gd name="T15" fmla="*/ 29 h 34"/>
                <a:gd name="T16" fmla="*/ 37 w 37"/>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4">
                  <a:moveTo>
                    <a:pt x="37" y="17"/>
                  </a:moveTo>
                  <a:lnTo>
                    <a:pt x="32" y="5"/>
                  </a:lnTo>
                  <a:lnTo>
                    <a:pt x="19" y="0"/>
                  </a:lnTo>
                  <a:lnTo>
                    <a:pt x="5" y="5"/>
                  </a:lnTo>
                  <a:lnTo>
                    <a:pt x="0" y="17"/>
                  </a:lnTo>
                  <a:lnTo>
                    <a:pt x="5" y="29"/>
                  </a:lnTo>
                  <a:lnTo>
                    <a:pt x="19" y="34"/>
                  </a:lnTo>
                  <a:lnTo>
                    <a:pt x="32" y="29"/>
                  </a:lnTo>
                  <a:lnTo>
                    <a:pt x="37" y="17"/>
                  </a:lnTo>
                  <a:close/>
                </a:path>
              </a:pathLst>
            </a:custGeom>
            <a:solidFill>
              <a:srgbClr val="0000FF"/>
            </a:solidFill>
            <a:ln w="1588" cap="rnd">
              <a:solidFill>
                <a:srgbClr val="0000FF"/>
              </a:solidFill>
              <a:prstDash val="solid"/>
              <a:round/>
              <a:headEnd/>
              <a:tailEnd/>
            </a:ln>
          </p:spPr>
          <p:txBody>
            <a:bodyPr/>
            <a:lstStyle/>
            <a:p>
              <a:pPr defTabSz="609539"/>
              <a:endParaRPr lang="en-US" sz="2399">
                <a:solidFill>
                  <a:srgbClr val="000000"/>
                </a:solidFill>
              </a:endParaRPr>
            </a:p>
          </p:txBody>
        </p:sp>
      </p:grpSp>
      <p:grpSp>
        <p:nvGrpSpPr>
          <p:cNvPr id="190" name="Group 201">
            <a:extLst>
              <a:ext uri="{FF2B5EF4-FFF2-40B4-BE49-F238E27FC236}">
                <a16:creationId xmlns:a16="http://schemas.microsoft.com/office/drawing/2014/main" id="{1DEDF9BB-798F-4DF6-B03E-6E5E0FDC62C9}"/>
              </a:ext>
            </a:extLst>
          </p:cNvPr>
          <p:cNvGrpSpPr>
            <a:grpSpLocks/>
          </p:cNvGrpSpPr>
          <p:nvPr>
            <p:custDataLst>
              <p:tags r:id="rId143"/>
            </p:custDataLst>
          </p:nvPr>
        </p:nvGrpSpPr>
        <p:grpSpPr bwMode="auto">
          <a:xfrm rot="120000">
            <a:off x="10293215" y="1751779"/>
            <a:ext cx="61911" cy="57148"/>
            <a:chOff x="3685" y="1312"/>
            <a:chExt cx="37" cy="34"/>
          </a:xfrm>
        </p:grpSpPr>
        <p:sp>
          <p:nvSpPr>
            <p:cNvPr id="191" name="Freeform 202">
              <a:extLst>
                <a:ext uri="{FF2B5EF4-FFF2-40B4-BE49-F238E27FC236}">
                  <a16:creationId xmlns:a16="http://schemas.microsoft.com/office/drawing/2014/main" id="{9C586BB1-C9D6-47DB-9A8C-E35FB675666E}"/>
                </a:ext>
              </a:extLst>
            </p:cNvPr>
            <p:cNvSpPr>
              <a:spLocks/>
            </p:cNvSpPr>
            <p:nvPr/>
          </p:nvSpPr>
          <p:spPr bwMode="auto">
            <a:xfrm>
              <a:off x="3685" y="1312"/>
              <a:ext cx="37" cy="34"/>
            </a:xfrm>
            <a:custGeom>
              <a:avLst/>
              <a:gdLst>
                <a:gd name="T0" fmla="*/ 37 w 37"/>
                <a:gd name="T1" fmla="*/ 17 h 34"/>
                <a:gd name="T2" fmla="*/ 32 w 37"/>
                <a:gd name="T3" fmla="*/ 5 h 34"/>
                <a:gd name="T4" fmla="*/ 19 w 37"/>
                <a:gd name="T5" fmla="*/ 0 h 34"/>
                <a:gd name="T6" fmla="*/ 5 w 37"/>
                <a:gd name="T7" fmla="*/ 5 h 34"/>
                <a:gd name="T8" fmla="*/ 0 w 37"/>
                <a:gd name="T9" fmla="*/ 17 h 34"/>
                <a:gd name="T10" fmla="*/ 5 w 37"/>
                <a:gd name="T11" fmla="*/ 29 h 34"/>
                <a:gd name="T12" fmla="*/ 19 w 37"/>
                <a:gd name="T13" fmla="*/ 34 h 34"/>
                <a:gd name="T14" fmla="*/ 32 w 37"/>
                <a:gd name="T15" fmla="*/ 29 h 34"/>
                <a:gd name="T16" fmla="*/ 37 w 37"/>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4">
                  <a:moveTo>
                    <a:pt x="37" y="17"/>
                  </a:moveTo>
                  <a:lnTo>
                    <a:pt x="32" y="5"/>
                  </a:lnTo>
                  <a:lnTo>
                    <a:pt x="19" y="0"/>
                  </a:lnTo>
                  <a:lnTo>
                    <a:pt x="5" y="5"/>
                  </a:lnTo>
                  <a:lnTo>
                    <a:pt x="0" y="17"/>
                  </a:lnTo>
                  <a:lnTo>
                    <a:pt x="5" y="29"/>
                  </a:lnTo>
                  <a:lnTo>
                    <a:pt x="19" y="34"/>
                  </a:lnTo>
                  <a:lnTo>
                    <a:pt x="32" y="29"/>
                  </a:lnTo>
                  <a:lnTo>
                    <a:pt x="37" y="17"/>
                  </a:lnTo>
                  <a:close/>
                </a:path>
              </a:pathLst>
            </a:custGeom>
            <a:solidFill>
              <a:srgbClr val="FB0129"/>
            </a:solidFill>
            <a:ln w="9525">
              <a:solidFill>
                <a:srgbClr val="FB0129"/>
              </a:solidFill>
              <a:round/>
              <a:headEnd/>
              <a:tailEnd/>
            </a:ln>
          </p:spPr>
          <p:txBody>
            <a:bodyPr/>
            <a:lstStyle/>
            <a:p>
              <a:pPr defTabSz="609539"/>
              <a:endParaRPr lang="en-US" sz="2399">
                <a:solidFill>
                  <a:srgbClr val="000000"/>
                </a:solidFill>
              </a:endParaRPr>
            </a:p>
          </p:txBody>
        </p:sp>
        <p:sp>
          <p:nvSpPr>
            <p:cNvPr id="192" name="Freeform 203">
              <a:extLst>
                <a:ext uri="{FF2B5EF4-FFF2-40B4-BE49-F238E27FC236}">
                  <a16:creationId xmlns:a16="http://schemas.microsoft.com/office/drawing/2014/main" id="{C2F5C126-44CA-4F06-8186-8EBC11A07899}"/>
                </a:ext>
              </a:extLst>
            </p:cNvPr>
            <p:cNvSpPr>
              <a:spLocks/>
            </p:cNvSpPr>
            <p:nvPr/>
          </p:nvSpPr>
          <p:spPr bwMode="auto">
            <a:xfrm>
              <a:off x="3685" y="1312"/>
              <a:ext cx="37" cy="34"/>
            </a:xfrm>
            <a:custGeom>
              <a:avLst/>
              <a:gdLst>
                <a:gd name="T0" fmla="*/ 37 w 37"/>
                <a:gd name="T1" fmla="*/ 17 h 34"/>
                <a:gd name="T2" fmla="*/ 32 w 37"/>
                <a:gd name="T3" fmla="*/ 5 h 34"/>
                <a:gd name="T4" fmla="*/ 19 w 37"/>
                <a:gd name="T5" fmla="*/ 0 h 34"/>
                <a:gd name="T6" fmla="*/ 5 w 37"/>
                <a:gd name="T7" fmla="*/ 5 h 34"/>
                <a:gd name="T8" fmla="*/ 0 w 37"/>
                <a:gd name="T9" fmla="*/ 17 h 34"/>
                <a:gd name="T10" fmla="*/ 5 w 37"/>
                <a:gd name="T11" fmla="*/ 29 h 34"/>
                <a:gd name="T12" fmla="*/ 19 w 37"/>
                <a:gd name="T13" fmla="*/ 34 h 34"/>
                <a:gd name="T14" fmla="*/ 32 w 37"/>
                <a:gd name="T15" fmla="*/ 29 h 34"/>
                <a:gd name="T16" fmla="*/ 37 w 37"/>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4">
                  <a:moveTo>
                    <a:pt x="37" y="17"/>
                  </a:moveTo>
                  <a:lnTo>
                    <a:pt x="32" y="5"/>
                  </a:lnTo>
                  <a:lnTo>
                    <a:pt x="19" y="0"/>
                  </a:lnTo>
                  <a:lnTo>
                    <a:pt x="5" y="5"/>
                  </a:lnTo>
                  <a:lnTo>
                    <a:pt x="0" y="17"/>
                  </a:lnTo>
                  <a:lnTo>
                    <a:pt x="5" y="29"/>
                  </a:lnTo>
                  <a:lnTo>
                    <a:pt x="19" y="34"/>
                  </a:lnTo>
                  <a:lnTo>
                    <a:pt x="32" y="29"/>
                  </a:lnTo>
                  <a:lnTo>
                    <a:pt x="37" y="17"/>
                  </a:lnTo>
                  <a:close/>
                </a:path>
              </a:pathLst>
            </a:custGeom>
            <a:solidFill>
              <a:srgbClr val="FB0129"/>
            </a:solidFill>
            <a:ln w="1588" cap="rnd">
              <a:solidFill>
                <a:srgbClr val="FB0129"/>
              </a:solidFill>
              <a:prstDash val="solid"/>
              <a:round/>
              <a:headEnd/>
              <a:tailEnd/>
            </a:ln>
          </p:spPr>
          <p:txBody>
            <a:bodyPr/>
            <a:lstStyle/>
            <a:p>
              <a:pPr defTabSz="609539"/>
              <a:endParaRPr lang="en-US" sz="2399">
                <a:solidFill>
                  <a:srgbClr val="000000"/>
                </a:solidFill>
              </a:endParaRPr>
            </a:p>
          </p:txBody>
        </p:sp>
      </p:grpSp>
      <p:sp>
        <p:nvSpPr>
          <p:cNvPr id="193" name="Rectangle 204">
            <a:extLst>
              <a:ext uri="{FF2B5EF4-FFF2-40B4-BE49-F238E27FC236}">
                <a16:creationId xmlns:a16="http://schemas.microsoft.com/office/drawing/2014/main" id="{144B1848-7685-489A-891B-69086CF8C08D}"/>
              </a:ext>
            </a:extLst>
          </p:cNvPr>
          <p:cNvSpPr>
            <a:spLocks noChangeArrowheads="1"/>
          </p:cNvSpPr>
          <p:nvPr>
            <p:custDataLst>
              <p:tags r:id="rId144"/>
            </p:custDataLst>
          </p:nvPr>
        </p:nvSpPr>
        <p:spPr bwMode="auto">
          <a:xfrm>
            <a:off x="10067795" y="1813689"/>
            <a:ext cx="546483" cy="110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dirty="0">
                <a:solidFill>
                  <a:srgbClr val="FB0129"/>
                </a:solidFill>
                <a:latin typeface="+mn-lt"/>
              </a:rPr>
              <a:t>Pyeongtaek</a:t>
            </a:r>
          </a:p>
        </p:txBody>
      </p:sp>
      <p:sp>
        <p:nvSpPr>
          <p:cNvPr id="194" name="Rectangle 205">
            <a:extLst>
              <a:ext uri="{FF2B5EF4-FFF2-40B4-BE49-F238E27FC236}">
                <a16:creationId xmlns:a16="http://schemas.microsoft.com/office/drawing/2014/main" id="{D9949216-0CD6-4EED-82DB-E2EFAAD14C46}"/>
              </a:ext>
            </a:extLst>
          </p:cNvPr>
          <p:cNvSpPr>
            <a:spLocks noChangeArrowheads="1"/>
          </p:cNvSpPr>
          <p:nvPr>
            <p:custDataLst>
              <p:tags r:id="rId145"/>
            </p:custDataLst>
          </p:nvPr>
        </p:nvSpPr>
        <p:spPr bwMode="auto">
          <a:xfrm>
            <a:off x="9416940" y="2088319"/>
            <a:ext cx="391122"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a:solidFill>
                  <a:srgbClr val="FB0129"/>
                </a:solidFill>
                <a:latin typeface="+mn-lt"/>
              </a:rPr>
              <a:t>Nantong</a:t>
            </a:r>
          </a:p>
        </p:txBody>
      </p:sp>
      <p:grpSp>
        <p:nvGrpSpPr>
          <p:cNvPr id="195" name="Group 206">
            <a:extLst>
              <a:ext uri="{FF2B5EF4-FFF2-40B4-BE49-F238E27FC236}">
                <a16:creationId xmlns:a16="http://schemas.microsoft.com/office/drawing/2014/main" id="{F75219B3-CBFF-404C-8FC6-5DCC4DF7C3EB}"/>
              </a:ext>
            </a:extLst>
          </p:cNvPr>
          <p:cNvGrpSpPr>
            <a:grpSpLocks/>
          </p:cNvGrpSpPr>
          <p:nvPr>
            <p:custDataLst>
              <p:tags r:id="rId146"/>
            </p:custDataLst>
          </p:nvPr>
        </p:nvGrpSpPr>
        <p:grpSpPr bwMode="auto">
          <a:xfrm rot="120000">
            <a:off x="6335691" y="4461564"/>
            <a:ext cx="63498" cy="57148"/>
            <a:chOff x="1299" y="2888"/>
            <a:chExt cx="38" cy="35"/>
          </a:xfrm>
        </p:grpSpPr>
        <p:sp>
          <p:nvSpPr>
            <p:cNvPr id="196" name="Freeform 207">
              <a:extLst>
                <a:ext uri="{FF2B5EF4-FFF2-40B4-BE49-F238E27FC236}">
                  <a16:creationId xmlns:a16="http://schemas.microsoft.com/office/drawing/2014/main" id="{C55234AC-26CF-41E4-B4E6-775028832676}"/>
                </a:ext>
              </a:extLst>
            </p:cNvPr>
            <p:cNvSpPr>
              <a:spLocks/>
            </p:cNvSpPr>
            <p:nvPr/>
          </p:nvSpPr>
          <p:spPr bwMode="auto">
            <a:xfrm>
              <a:off x="1299" y="2888"/>
              <a:ext cx="38" cy="35"/>
            </a:xfrm>
            <a:custGeom>
              <a:avLst/>
              <a:gdLst>
                <a:gd name="T0" fmla="*/ 38 w 38"/>
                <a:gd name="T1" fmla="*/ 17 h 35"/>
                <a:gd name="T2" fmla="*/ 32 w 38"/>
                <a:gd name="T3" fmla="*/ 5 h 35"/>
                <a:gd name="T4" fmla="*/ 19 w 38"/>
                <a:gd name="T5" fmla="*/ 0 h 35"/>
                <a:gd name="T6" fmla="*/ 6 w 38"/>
                <a:gd name="T7" fmla="*/ 5 h 35"/>
                <a:gd name="T8" fmla="*/ 0 w 38"/>
                <a:gd name="T9" fmla="*/ 17 h 35"/>
                <a:gd name="T10" fmla="*/ 6 w 38"/>
                <a:gd name="T11" fmla="*/ 30 h 35"/>
                <a:gd name="T12" fmla="*/ 19 w 38"/>
                <a:gd name="T13" fmla="*/ 35 h 35"/>
                <a:gd name="T14" fmla="*/ 32 w 38"/>
                <a:gd name="T15" fmla="*/ 30 h 35"/>
                <a:gd name="T16" fmla="*/ 38 w 38"/>
                <a:gd name="T1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7"/>
                  </a:moveTo>
                  <a:lnTo>
                    <a:pt x="32" y="5"/>
                  </a:lnTo>
                  <a:lnTo>
                    <a:pt x="19" y="0"/>
                  </a:lnTo>
                  <a:lnTo>
                    <a:pt x="6" y="5"/>
                  </a:lnTo>
                  <a:lnTo>
                    <a:pt x="0" y="17"/>
                  </a:lnTo>
                  <a:lnTo>
                    <a:pt x="6" y="30"/>
                  </a:lnTo>
                  <a:lnTo>
                    <a:pt x="19" y="35"/>
                  </a:lnTo>
                  <a:lnTo>
                    <a:pt x="32" y="30"/>
                  </a:lnTo>
                  <a:lnTo>
                    <a:pt x="38" y="17"/>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39"/>
              <a:endParaRPr lang="en-US" sz="2399">
                <a:solidFill>
                  <a:srgbClr val="000000"/>
                </a:solidFill>
              </a:endParaRPr>
            </a:p>
          </p:txBody>
        </p:sp>
        <p:sp>
          <p:nvSpPr>
            <p:cNvPr id="197" name="Freeform 208">
              <a:extLst>
                <a:ext uri="{FF2B5EF4-FFF2-40B4-BE49-F238E27FC236}">
                  <a16:creationId xmlns:a16="http://schemas.microsoft.com/office/drawing/2014/main" id="{E2F3F198-EC61-4E2F-9DFC-3724210B4E7E}"/>
                </a:ext>
              </a:extLst>
            </p:cNvPr>
            <p:cNvSpPr>
              <a:spLocks/>
            </p:cNvSpPr>
            <p:nvPr/>
          </p:nvSpPr>
          <p:spPr bwMode="auto">
            <a:xfrm>
              <a:off x="1299" y="2888"/>
              <a:ext cx="38" cy="35"/>
            </a:xfrm>
            <a:custGeom>
              <a:avLst/>
              <a:gdLst>
                <a:gd name="T0" fmla="*/ 38 w 38"/>
                <a:gd name="T1" fmla="*/ 17 h 35"/>
                <a:gd name="T2" fmla="*/ 32 w 38"/>
                <a:gd name="T3" fmla="*/ 5 h 35"/>
                <a:gd name="T4" fmla="*/ 19 w 38"/>
                <a:gd name="T5" fmla="*/ 0 h 35"/>
                <a:gd name="T6" fmla="*/ 6 w 38"/>
                <a:gd name="T7" fmla="*/ 5 h 35"/>
                <a:gd name="T8" fmla="*/ 0 w 38"/>
                <a:gd name="T9" fmla="*/ 17 h 35"/>
                <a:gd name="T10" fmla="*/ 6 w 38"/>
                <a:gd name="T11" fmla="*/ 30 h 35"/>
                <a:gd name="T12" fmla="*/ 19 w 38"/>
                <a:gd name="T13" fmla="*/ 35 h 35"/>
                <a:gd name="T14" fmla="*/ 32 w 38"/>
                <a:gd name="T15" fmla="*/ 30 h 35"/>
                <a:gd name="T16" fmla="*/ 38 w 38"/>
                <a:gd name="T17"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7"/>
                  </a:moveTo>
                  <a:lnTo>
                    <a:pt x="32" y="5"/>
                  </a:lnTo>
                  <a:lnTo>
                    <a:pt x="19" y="0"/>
                  </a:lnTo>
                  <a:lnTo>
                    <a:pt x="6" y="5"/>
                  </a:lnTo>
                  <a:lnTo>
                    <a:pt x="0" y="17"/>
                  </a:lnTo>
                  <a:lnTo>
                    <a:pt x="6" y="30"/>
                  </a:lnTo>
                  <a:lnTo>
                    <a:pt x="19" y="35"/>
                  </a:lnTo>
                  <a:lnTo>
                    <a:pt x="32" y="30"/>
                  </a:lnTo>
                  <a:lnTo>
                    <a:pt x="38" y="17"/>
                  </a:lnTo>
                  <a:close/>
                </a:path>
              </a:pathLst>
            </a:custGeom>
            <a:noFill/>
            <a:ln w="1588" cap="rnd">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grpSp>
      <p:sp>
        <p:nvSpPr>
          <p:cNvPr id="198" name="Rectangle 209">
            <a:extLst>
              <a:ext uri="{FF2B5EF4-FFF2-40B4-BE49-F238E27FC236}">
                <a16:creationId xmlns:a16="http://schemas.microsoft.com/office/drawing/2014/main" id="{B6F168E5-E936-4897-8007-3194B102A3A5}"/>
              </a:ext>
            </a:extLst>
          </p:cNvPr>
          <p:cNvSpPr>
            <a:spLocks noChangeArrowheads="1"/>
          </p:cNvSpPr>
          <p:nvPr>
            <p:custDataLst>
              <p:tags r:id="rId147"/>
            </p:custDataLst>
          </p:nvPr>
        </p:nvSpPr>
        <p:spPr bwMode="auto">
          <a:xfrm>
            <a:off x="6054711" y="4426638"/>
            <a:ext cx="267694"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a:solidFill>
                  <a:srgbClr val="000000"/>
                </a:solidFill>
                <a:latin typeface="+mn-lt"/>
              </a:rPr>
              <a:t>Tirpur</a:t>
            </a:r>
          </a:p>
        </p:txBody>
      </p:sp>
      <p:sp>
        <p:nvSpPr>
          <p:cNvPr id="199" name="Freeform 210">
            <a:extLst>
              <a:ext uri="{FF2B5EF4-FFF2-40B4-BE49-F238E27FC236}">
                <a16:creationId xmlns:a16="http://schemas.microsoft.com/office/drawing/2014/main" id="{8DCCF75C-031C-41CC-A376-28E5B891177B}"/>
              </a:ext>
            </a:extLst>
          </p:cNvPr>
          <p:cNvSpPr>
            <a:spLocks/>
          </p:cNvSpPr>
          <p:nvPr>
            <p:custDataLst>
              <p:tags r:id="rId148"/>
            </p:custDataLst>
          </p:nvPr>
        </p:nvSpPr>
        <p:spPr bwMode="auto">
          <a:xfrm>
            <a:off x="10782149" y="569127"/>
            <a:ext cx="319079" cy="422263"/>
          </a:xfrm>
          <a:custGeom>
            <a:avLst/>
            <a:gdLst>
              <a:gd name="T0" fmla="*/ 1 w 199"/>
              <a:gd name="T1" fmla="*/ 18 h 264"/>
              <a:gd name="T2" fmla="*/ 13 w 199"/>
              <a:gd name="T3" fmla="*/ 13 h 264"/>
              <a:gd name="T4" fmla="*/ 31 w 199"/>
              <a:gd name="T5" fmla="*/ 21 h 264"/>
              <a:gd name="T6" fmla="*/ 49 w 199"/>
              <a:gd name="T7" fmla="*/ 33 h 264"/>
              <a:gd name="T8" fmla="*/ 64 w 199"/>
              <a:gd name="T9" fmla="*/ 40 h 264"/>
              <a:gd name="T10" fmla="*/ 81 w 199"/>
              <a:gd name="T11" fmla="*/ 45 h 264"/>
              <a:gd name="T12" fmla="*/ 106 w 199"/>
              <a:gd name="T13" fmla="*/ 40 h 264"/>
              <a:gd name="T14" fmla="*/ 120 w 199"/>
              <a:gd name="T15" fmla="*/ 37 h 264"/>
              <a:gd name="T16" fmla="*/ 135 w 199"/>
              <a:gd name="T17" fmla="*/ 42 h 264"/>
              <a:gd name="T18" fmla="*/ 145 w 199"/>
              <a:gd name="T19" fmla="*/ 34 h 264"/>
              <a:gd name="T20" fmla="*/ 150 w 199"/>
              <a:gd name="T21" fmla="*/ 13 h 264"/>
              <a:gd name="T22" fmla="*/ 153 w 199"/>
              <a:gd name="T23" fmla="*/ 0 h 264"/>
              <a:gd name="T24" fmla="*/ 159 w 199"/>
              <a:gd name="T25" fmla="*/ 19 h 264"/>
              <a:gd name="T26" fmla="*/ 165 w 199"/>
              <a:gd name="T27" fmla="*/ 34 h 264"/>
              <a:gd name="T28" fmla="*/ 180 w 199"/>
              <a:gd name="T29" fmla="*/ 48 h 264"/>
              <a:gd name="T30" fmla="*/ 196 w 199"/>
              <a:gd name="T31" fmla="*/ 42 h 264"/>
              <a:gd name="T32" fmla="*/ 199 w 199"/>
              <a:gd name="T33" fmla="*/ 52 h 264"/>
              <a:gd name="T34" fmla="*/ 189 w 199"/>
              <a:gd name="T35" fmla="*/ 63 h 264"/>
              <a:gd name="T36" fmla="*/ 180 w 199"/>
              <a:gd name="T37" fmla="*/ 82 h 264"/>
              <a:gd name="T38" fmla="*/ 172 w 199"/>
              <a:gd name="T39" fmla="*/ 90 h 264"/>
              <a:gd name="T40" fmla="*/ 160 w 199"/>
              <a:gd name="T41" fmla="*/ 97 h 264"/>
              <a:gd name="T42" fmla="*/ 156 w 199"/>
              <a:gd name="T43" fmla="*/ 117 h 264"/>
              <a:gd name="T44" fmla="*/ 153 w 199"/>
              <a:gd name="T45" fmla="*/ 133 h 264"/>
              <a:gd name="T46" fmla="*/ 153 w 199"/>
              <a:gd name="T47" fmla="*/ 144 h 264"/>
              <a:gd name="T48" fmla="*/ 159 w 199"/>
              <a:gd name="T49" fmla="*/ 153 h 264"/>
              <a:gd name="T50" fmla="*/ 157 w 199"/>
              <a:gd name="T51" fmla="*/ 165 h 264"/>
              <a:gd name="T52" fmla="*/ 138 w 199"/>
              <a:gd name="T53" fmla="*/ 163 h 264"/>
              <a:gd name="T54" fmla="*/ 114 w 199"/>
              <a:gd name="T55" fmla="*/ 165 h 264"/>
              <a:gd name="T56" fmla="*/ 90 w 199"/>
              <a:gd name="T57" fmla="*/ 165 h 264"/>
              <a:gd name="T58" fmla="*/ 75 w 199"/>
              <a:gd name="T59" fmla="*/ 178 h 264"/>
              <a:gd name="T60" fmla="*/ 69 w 199"/>
              <a:gd name="T61" fmla="*/ 189 h 264"/>
              <a:gd name="T62" fmla="*/ 57 w 199"/>
              <a:gd name="T63" fmla="*/ 187 h 264"/>
              <a:gd name="T64" fmla="*/ 45 w 199"/>
              <a:gd name="T65" fmla="*/ 190 h 264"/>
              <a:gd name="T66" fmla="*/ 40 w 199"/>
              <a:gd name="T67" fmla="*/ 202 h 264"/>
              <a:gd name="T68" fmla="*/ 51 w 199"/>
              <a:gd name="T69" fmla="*/ 211 h 264"/>
              <a:gd name="T70" fmla="*/ 67 w 199"/>
              <a:gd name="T71" fmla="*/ 214 h 264"/>
              <a:gd name="T72" fmla="*/ 76 w 199"/>
              <a:gd name="T73" fmla="*/ 210 h 264"/>
              <a:gd name="T74" fmla="*/ 91 w 199"/>
              <a:gd name="T75" fmla="*/ 217 h 264"/>
              <a:gd name="T76" fmla="*/ 84 w 199"/>
              <a:gd name="T77" fmla="*/ 229 h 264"/>
              <a:gd name="T78" fmla="*/ 75 w 199"/>
              <a:gd name="T79" fmla="*/ 235 h 264"/>
              <a:gd name="T80" fmla="*/ 75 w 199"/>
              <a:gd name="T81" fmla="*/ 247 h 264"/>
              <a:gd name="T82" fmla="*/ 66 w 199"/>
              <a:gd name="T83" fmla="*/ 264 h 264"/>
              <a:gd name="T84" fmla="*/ 58 w 199"/>
              <a:gd name="T85" fmla="*/ 240 h 264"/>
              <a:gd name="T86" fmla="*/ 40 w 199"/>
              <a:gd name="T87" fmla="*/ 223 h 264"/>
              <a:gd name="T88" fmla="*/ 30 w 199"/>
              <a:gd name="T89" fmla="*/ 214 h 264"/>
              <a:gd name="T90" fmla="*/ 27 w 199"/>
              <a:gd name="T91" fmla="*/ 198 h 264"/>
              <a:gd name="T92" fmla="*/ 34 w 199"/>
              <a:gd name="T93" fmla="*/ 184 h 264"/>
              <a:gd name="T94" fmla="*/ 40 w 199"/>
              <a:gd name="T95" fmla="*/ 169 h 264"/>
              <a:gd name="T96" fmla="*/ 28 w 199"/>
              <a:gd name="T97" fmla="*/ 162 h 264"/>
              <a:gd name="T98" fmla="*/ 19 w 199"/>
              <a:gd name="T99" fmla="*/ 153 h 264"/>
              <a:gd name="T100" fmla="*/ 43 w 199"/>
              <a:gd name="T101" fmla="*/ 154 h 264"/>
              <a:gd name="T102" fmla="*/ 58 w 199"/>
              <a:gd name="T103" fmla="*/ 144 h 264"/>
              <a:gd name="T104" fmla="*/ 51 w 199"/>
              <a:gd name="T105" fmla="*/ 124 h 264"/>
              <a:gd name="T106" fmla="*/ 45 w 199"/>
              <a:gd name="T107" fmla="*/ 109 h 264"/>
              <a:gd name="T108" fmla="*/ 49 w 199"/>
              <a:gd name="T109" fmla="*/ 97 h 264"/>
              <a:gd name="T110" fmla="*/ 34 w 199"/>
              <a:gd name="T111" fmla="*/ 79 h 264"/>
              <a:gd name="T112" fmla="*/ 30 w 199"/>
              <a:gd name="T113" fmla="*/ 67 h 264"/>
              <a:gd name="T114" fmla="*/ 22 w 199"/>
              <a:gd name="T115" fmla="*/ 51 h 264"/>
              <a:gd name="T116" fmla="*/ 7 w 199"/>
              <a:gd name="T117" fmla="*/ 39 h 264"/>
              <a:gd name="T118" fmla="*/ 0 w 199"/>
              <a:gd name="T119" fmla="*/ 30 h 264"/>
              <a:gd name="T120" fmla="*/ 1 w 199"/>
              <a:gd name="T121" fmla="*/ 1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9" h="264">
                <a:moveTo>
                  <a:pt x="1" y="18"/>
                </a:moveTo>
                <a:lnTo>
                  <a:pt x="13" y="13"/>
                </a:lnTo>
                <a:lnTo>
                  <a:pt x="31" y="21"/>
                </a:lnTo>
                <a:lnTo>
                  <a:pt x="49" y="33"/>
                </a:lnTo>
                <a:lnTo>
                  <a:pt x="64" y="40"/>
                </a:lnTo>
                <a:lnTo>
                  <a:pt x="81" y="45"/>
                </a:lnTo>
                <a:lnTo>
                  <a:pt x="106" y="40"/>
                </a:lnTo>
                <a:lnTo>
                  <a:pt x="120" y="37"/>
                </a:lnTo>
                <a:lnTo>
                  <a:pt x="135" y="42"/>
                </a:lnTo>
                <a:lnTo>
                  <a:pt x="145" y="34"/>
                </a:lnTo>
                <a:lnTo>
                  <a:pt x="150" y="13"/>
                </a:lnTo>
                <a:lnTo>
                  <a:pt x="153" y="0"/>
                </a:lnTo>
                <a:lnTo>
                  <a:pt x="159" y="19"/>
                </a:lnTo>
                <a:lnTo>
                  <a:pt x="165" y="34"/>
                </a:lnTo>
                <a:lnTo>
                  <a:pt x="180" y="48"/>
                </a:lnTo>
                <a:lnTo>
                  <a:pt x="196" y="42"/>
                </a:lnTo>
                <a:lnTo>
                  <a:pt x="199" y="52"/>
                </a:lnTo>
                <a:lnTo>
                  <a:pt x="189" y="63"/>
                </a:lnTo>
                <a:lnTo>
                  <a:pt x="180" y="82"/>
                </a:lnTo>
                <a:lnTo>
                  <a:pt x="172" y="90"/>
                </a:lnTo>
                <a:lnTo>
                  <a:pt x="160" y="97"/>
                </a:lnTo>
                <a:lnTo>
                  <a:pt x="156" y="117"/>
                </a:lnTo>
                <a:lnTo>
                  <a:pt x="153" y="133"/>
                </a:lnTo>
                <a:lnTo>
                  <a:pt x="153" y="144"/>
                </a:lnTo>
                <a:lnTo>
                  <a:pt x="159" y="153"/>
                </a:lnTo>
                <a:lnTo>
                  <a:pt x="157" y="165"/>
                </a:lnTo>
                <a:lnTo>
                  <a:pt x="138" y="163"/>
                </a:lnTo>
                <a:lnTo>
                  <a:pt x="114" y="165"/>
                </a:lnTo>
                <a:lnTo>
                  <a:pt x="90" y="165"/>
                </a:lnTo>
                <a:lnTo>
                  <a:pt x="75" y="178"/>
                </a:lnTo>
                <a:lnTo>
                  <a:pt x="69" y="189"/>
                </a:lnTo>
                <a:lnTo>
                  <a:pt x="57" y="187"/>
                </a:lnTo>
                <a:lnTo>
                  <a:pt x="45" y="190"/>
                </a:lnTo>
                <a:lnTo>
                  <a:pt x="40" y="202"/>
                </a:lnTo>
                <a:lnTo>
                  <a:pt x="51" y="211"/>
                </a:lnTo>
                <a:lnTo>
                  <a:pt x="67" y="214"/>
                </a:lnTo>
                <a:lnTo>
                  <a:pt x="76" y="210"/>
                </a:lnTo>
                <a:lnTo>
                  <a:pt x="91" y="217"/>
                </a:lnTo>
                <a:lnTo>
                  <a:pt x="84" y="229"/>
                </a:lnTo>
                <a:lnTo>
                  <a:pt x="75" y="235"/>
                </a:lnTo>
                <a:lnTo>
                  <a:pt x="75" y="247"/>
                </a:lnTo>
                <a:lnTo>
                  <a:pt x="66" y="264"/>
                </a:lnTo>
                <a:lnTo>
                  <a:pt x="58" y="240"/>
                </a:lnTo>
                <a:lnTo>
                  <a:pt x="40" y="223"/>
                </a:lnTo>
                <a:lnTo>
                  <a:pt x="30" y="214"/>
                </a:lnTo>
                <a:lnTo>
                  <a:pt x="27" y="198"/>
                </a:lnTo>
                <a:lnTo>
                  <a:pt x="34" y="184"/>
                </a:lnTo>
                <a:lnTo>
                  <a:pt x="40" y="169"/>
                </a:lnTo>
                <a:lnTo>
                  <a:pt x="28" y="162"/>
                </a:lnTo>
                <a:lnTo>
                  <a:pt x="19" y="153"/>
                </a:lnTo>
                <a:lnTo>
                  <a:pt x="43" y="154"/>
                </a:lnTo>
                <a:lnTo>
                  <a:pt x="58" y="144"/>
                </a:lnTo>
                <a:lnTo>
                  <a:pt x="51" y="124"/>
                </a:lnTo>
                <a:lnTo>
                  <a:pt x="45" y="109"/>
                </a:lnTo>
                <a:lnTo>
                  <a:pt x="49" y="97"/>
                </a:lnTo>
                <a:lnTo>
                  <a:pt x="34" y="79"/>
                </a:lnTo>
                <a:lnTo>
                  <a:pt x="30" y="67"/>
                </a:lnTo>
                <a:lnTo>
                  <a:pt x="22" y="51"/>
                </a:lnTo>
                <a:lnTo>
                  <a:pt x="7" y="39"/>
                </a:lnTo>
                <a:lnTo>
                  <a:pt x="0" y="30"/>
                </a:lnTo>
                <a:lnTo>
                  <a:pt x="1" y="18"/>
                </a:lnTo>
                <a:close/>
              </a:path>
            </a:pathLst>
          </a:custGeom>
          <a:solidFill>
            <a:schemeClr val="accent1"/>
          </a:solidFill>
          <a:ln w="9525">
            <a:solidFill>
              <a:schemeClr val="tx2"/>
            </a:solidFill>
            <a:round/>
            <a:headEnd/>
            <a:tailEnd/>
          </a:ln>
          <a:effectLst/>
          <a:extLst/>
        </p:spPr>
        <p:txBody>
          <a:bodyPr/>
          <a:lstStyle/>
          <a:p>
            <a:pPr defTabSz="609539"/>
            <a:endParaRPr lang="en-US" sz="2399">
              <a:solidFill>
                <a:srgbClr val="000000"/>
              </a:solidFill>
            </a:endParaRPr>
          </a:p>
        </p:txBody>
      </p:sp>
      <p:sp>
        <p:nvSpPr>
          <p:cNvPr id="200" name="Freeform 211">
            <a:extLst>
              <a:ext uri="{FF2B5EF4-FFF2-40B4-BE49-F238E27FC236}">
                <a16:creationId xmlns:a16="http://schemas.microsoft.com/office/drawing/2014/main" id="{9656ECA8-1A4C-4497-8F39-EED61F9A51D2}"/>
              </a:ext>
            </a:extLst>
          </p:cNvPr>
          <p:cNvSpPr>
            <a:spLocks/>
          </p:cNvSpPr>
          <p:nvPr>
            <p:custDataLst>
              <p:tags r:id="rId149"/>
            </p:custDataLst>
          </p:nvPr>
        </p:nvSpPr>
        <p:spPr bwMode="auto">
          <a:xfrm>
            <a:off x="10717065" y="1770828"/>
            <a:ext cx="149221" cy="184145"/>
          </a:xfrm>
          <a:custGeom>
            <a:avLst/>
            <a:gdLst>
              <a:gd name="T0" fmla="*/ 0 w 93"/>
              <a:gd name="T1" fmla="*/ 87 h 115"/>
              <a:gd name="T2" fmla="*/ 14 w 93"/>
              <a:gd name="T3" fmla="*/ 87 h 115"/>
              <a:gd name="T4" fmla="*/ 23 w 93"/>
              <a:gd name="T5" fmla="*/ 105 h 115"/>
              <a:gd name="T6" fmla="*/ 29 w 93"/>
              <a:gd name="T7" fmla="*/ 114 h 115"/>
              <a:gd name="T8" fmla="*/ 44 w 93"/>
              <a:gd name="T9" fmla="*/ 115 h 115"/>
              <a:gd name="T10" fmla="*/ 47 w 93"/>
              <a:gd name="T11" fmla="*/ 103 h 115"/>
              <a:gd name="T12" fmla="*/ 45 w 93"/>
              <a:gd name="T13" fmla="*/ 93 h 115"/>
              <a:gd name="T14" fmla="*/ 50 w 93"/>
              <a:gd name="T15" fmla="*/ 73 h 115"/>
              <a:gd name="T16" fmla="*/ 54 w 93"/>
              <a:gd name="T17" fmla="*/ 58 h 115"/>
              <a:gd name="T18" fmla="*/ 65 w 93"/>
              <a:gd name="T19" fmla="*/ 54 h 115"/>
              <a:gd name="T20" fmla="*/ 77 w 93"/>
              <a:gd name="T21" fmla="*/ 58 h 115"/>
              <a:gd name="T22" fmla="*/ 84 w 93"/>
              <a:gd name="T23" fmla="*/ 46 h 115"/>
              <a:gd name="T24" fmla="*/ 93 w 93"/>
              <a:gd name="T25" fmla="*/ 27 h 115"/>
              <a:gd name="T26" fmla="*/ 87 w 93"/>
              <a:gd name="T27" fmla="*/ 4 h 115"/>
              <a:gd name="T28" fmla="*/ 63 w 93"/>
              <a:gd name="T29" fmla="*/ 0 h 115"/>
              <a:gd name="T30" fmla="*/ 44 w 93"/>
              <a:gd name="T31" fmla="*/ 22 h 115"/>
              <a:gd name="T32" fmla="*/ 41 w 93"/>
              <a:gd name="T33" fmla="*/ 40 h 115"/>
              <a:gd name="T34" fmla="*/ 24 w 93"/>
              <a:gd name="T35" fmla="*/ 40 h 115"/>
              <a:gd name="T36" fmla="*/ 15 w 93"/>
              <a:gd name="T37" fmla="*/ 49 h 115"/>
              <a:gd name="T38" fmla="*/ 17 w 93"/>
              <a:gd name="T39" fmla="*/ 61 h 115"/>
              <a:gd name="T40" fmla="*/ 12 w 93"/>
              <a:gd name="T41" fmla="*/ 70 h 115"/>
              <a:gd name="T42" fmla="*/ 0 w 93"/>
              <a:gd name="T43" fmla="*/ 8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 h="115">
                <a:moveTo>
                  <a:pt x="0" y="87"/>
                </a:moveTo>
                <a:lnTo>
                  <a:pt x="14" y="87"/>
                </a:lnTo>
                <a:lnTo>
                  <a:pt x="23" y="105"/>
                </a:lnTo>
                <a:lnTo>
                  <a:pt x="29" y="114"/>
                </a:lnTo>
                <a:lnTo>
                  <a:pt x="44" y="115"/>
                </a:lnTo>
                <a:lnTo>
                  <a:pt x="47" y="103"/>
                </a:lnTo>
                <a:lnTo>
                  <a:pt x="45" y="93"/>
                </a:lnTo>
                <a:lnTo>
                  <a:pt x="50" y="73"/>
                </a:lnTo>
                <a:lnTo>
                  <a:pt x="54" y="58"/>
                </a:lnTo>
                <a:lnTo>
                  <a:pt x="65" y="54"/>
                </a:lnTo>
                <a:lnTo>
                  <a:pt x="77" y="58"/>
                </a:lnTo>
                <a:lnTo>
                  <a:pt x="84" y="46"/>
                </a:lnTo>
                <a:lnTo>
                  <a:pt x="93" y="27"/>
                </a:lnTo>
                <a:lnTo>
                  <a:pt x="87" y="4"/>
                </a:lnTo>
                <a:lnTo>
                  <a:pt x="63" y="0"/>
                </a:lnTo>
                <a:lnTo>
                  <a:pt x="44" y="22"/>
                </a:lnTo>
                <a:lnTo>
                  <a:pt x="41" y="40"/>
                </a:lnTo>
                <a:lnTo>
                  <a:pt x="24" y="40"/>
                </a:lnTo>
                <a:lnTo>
                  <a:pt x="15" y="49"/>
                </a:lnTo>
                <a:lnTo>
                  <a:pt x="17" y="61"/>
                </a:lnTo>
                <a:lnTo>
                  <a:pt x="12" y="70"/>
                </a:lnTo>
                <a:lnTo>
                  <a:pt x="0" y="87"/>
                </a:lnTo>
                <a:close/>
              </a:path>
            </a:pathLst>
          </a:custGeom>
          <a:solidFill>
            <a:schemeClr val="accent1"/>
          </a:solidFill>
          <a:ln w="9525">
            <a:solidFill>
              <a:schemeClr val="tx2"/>
            </a:solidFill>
            <a:round/>
            <a:headEnd/>
            <a:tailEnd/>
          </a:ln>
          <a:effectLst/>
          <a:extLst/>
        </p:spPr>
        <p:txBody>
          <a:bodyPr/>
          <a:lstStyle/>
          <a:p>
            <a:pPr defTabSz="609539"/>
            <a:endParaRPr lang="en-US" sz="2399">
              <a:solidFill>
                <a:srgbClr val="000000"/>
              </a:solidFill>
            </a:endParaRPr>
          </a:p>
        </p:txBody>
      </p:sp>
      <p:grpSp>
        <p:nvGrpSpPr>
          <p:cNvPr id="201" name="Group 212">
            <a:extLst>
              <a:ext uri="{FF2B5EF4-FFF2-40B4-BE49-F238E27FC236}">
                <a16:creationId xmlns:a16="http://schemas.microsoft.com/office/drawing/2014/main" id="{B7A3E0C1-AFE8-4D15-A837-C061301A0C77}"/>
              </a:ext>
            </a:extLst>
          </p:cNvPr>
          <p:cNvGrpSpPr>
            <a:grpSpLocks/>
          </p:cNvGrpSpPr>
          <p:nvPr>
            <p:custDataLst>
              <p:tags r:id="rId150"/>
            </p:custDataLst>
          </p:nvPr>
        </p:nvGrpSpPr>
        <p:grpSpPr bwMode="auto">
          <a:xfrm rot="120000">
            <a:off x="11093291" y="1437465"/>
            <a:ext cx="63498" cy="58736"/>
            <a:chOff x="3280" y="1547"/>
            <a:chExt cx="39" cy="35"/>
          </a:xfrm>
        </p:grpSpPr>
        <p:sp>
          <p:nvSpPr>
            <p:cNvPr id="202" name="Freeform 213">
              <a:extLst>
                <a:ext uri="{FF2B5EF4-FFF2-40B4-BE49-F238E27FC236}">
                  <a16:creationId xmlns:a16="http://schemas.microsoft.com/office/drawing/2014/main" id="{F9E9E373-A092-462D-A359-EDA9205BC324}"/>
                </a:ext>
              </a:extLst>
            </p:cNvPr>
            <p:cNvSpPr>
              <a:spLocks/>
            </p:cNvSpPr>
            <p:nvPr/>
          </p:nvSpPr>
          <p:spPr bwMode="auto">
            <a:xfrm>
              <a:off x="3280" y="1547"/>
              <a:ext cx="39" cy="35"/>
            </a:xfrm>
            <a:custGeom>
              <a:avLst/>
              <a:gdLst>
                <a:gd name="T0" fmla="*/ 39 w 39"/>
                <a:gd name="T1" fmla="*/ 18 h 35"/>
                <a:gd name="T2" fmla="*/ 33 w 39"/>
                <a:gd name="T3" fmla="*/ 5 h 35"/>
                <a:gd name="T4" fmla="*/ 19 w 39"/>
                <a:gd name="T5" fmla="*/ 0 h 35"/>
                <a:gd name="T6" fmla="*/ 5 w 39"/>
                <a:gd name="T7" fmla="*/ 5 h 35"/>
                <a:gd name="T8" fmla="*/ 0 w 39"/>
                <a:gd name="T9" fmla="*/ 18 h 35"/>
                <a:gd name="T10" fmla="*/ 5 w 39"/>
                <a:gd name="T11" fmla="*/ 30 h 35"/>
                <a:gd name="T12" fmla="*/ 19 w 39"/>
                <a:gd name="T13" fmla="*/ 35 h 35"/>
                <a:gd name="T14" fmla="*/ 33 w 39"/>
                <a:gd name="T15" fmla="*/ 30 h 35"/>
                <a:gd name="T16" fmla="*/ 39 w 39"/>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5">
                  <a:moveTo>
                    <a:pt x="39" y="18"/>
                  </a:moveTo>
                  <a:lnTo>
                    <a:pt x="33" y="5"/>
                  </a:lnTo>
                  <a:lnTo>
                    <a:pt x="19" y="0"/>
                  </a:lnTo>
                  <a:lnTo>
                    <a:pt x="5" y="5"/>
                  </a:lnTo>
                  <a:lnTo>
                    <a:pt x="0" y="18"/>
                  </a:lnTo>
                  <a:lnTo>
                    <a:pt x="5" y="30"/>
                  </a:lnTo>
                  <a:lnTo>
                    <a:pt x="19" y="35"/>
                  </a:lnTo>
                  <a:lnTo>
                    <a:pt x="33" y="30"/>
                  </a:lnTo>
                  <a:lnTo>
                    <a:pt x="39" y="18"/>
                  </a:lnTo>
                  <a:close/>
                </a:path>
              </a:pathLst>
            </a:custGeom>
            <a:solidFill>
              <a:srgbClr val="0000FF"/>
            </a:solidFill>
            <a:ln w="9525">
              <a:solidFill>
                <a:srgbClr val="0000FF"/>
              </a:solidFill>
              <a:round/>
              <a:headEnd/>
              <a:tailEnd/>
            </a:ln>
          </p:spPr>
          <p:txBody>
            <a:bodyPr/>
            <a:lstStyle/>
            <a:p>
              <a:pPr defTabSz="609539"/>
              <a:endParaRPr lang="en-US" sz="2399">
                <a:solidFill>
                  <a:srgbClr val="000000"/>
                </a:solidFill>
              </a:endParaRPr>
            </a:p>
          </p:txBody>
        </p:sp>
        <p:sp>
          <p:nvSpPr>
            <p:cNvPr id="203" name="Freeform 214">
              <a:extLst>
                <a:ext uri="{FF2B5EF4-FFF2-40B4-BE49-F238E27FC236}">
                  <a16:creationId xmlns:a16="http://schemas.microsoft.com/office/drawing/2014/main" id="{B5DA94B8-06BA-4E17-A16E-F4059F73E012}"/>
                </a:ext>
              </a:extLst>
            </p:cNvPr>
            <p:cNvSpPr>
              <a:spLocks/>
            </p:cNvSpPr>
            <p:nvPr/>
          </p:nvSpPr>
          <p:spPr bwMode="auto">
            <a:xfrm>
              <a:off x="3280" y="1547"/>
              <a:ext cx="39" cy="35"/>
            </a:xfrm>
            <a:custGeom>
              <a:avLst/>
              <a:gdLst>
                <a:gd name="T0" fmla="*/ 39 w 39"/>
                <a:gd name="T1" fmla="*/ 18 h 35"/>
                <a:gd name="T2" fmla="*/ 33 w 39"/>
                <a:gd name="T3" fmla="*/ 5 h 35"/>
                <a:gd name="T4" fmla="*/ 19 w 39"/>
                <a:gd name="T5" fmla="*/ 0 h 35"/>
                <a:gd name="T6" fmla="*/ 5 w 39"/>
                <a:gd name="T7" fmla="*/ 5 h 35"/>
                <a:gd name="T8" fmla="*/ 0 w 39"/>
                <a:gd name="T9" fmla="*/ 18 h 35"/>
                <a:gd name="T10" fmla="*/ 5 w 39"/>
                <a:gd name="T11" fmla="*/ 30 h 35"/>
                <a:gd name="T12" fmla="*/ 19 w 39"/>
                <a:gd name="T13" fmla="*/ 35 h 35"/>
                <a:gd name="T14" fmla="*/ 33 w 39"/>
                <a:gd name="T15" fmla="*/ 30 h 35"/>
                <a:gd name="T16" fmla="*/ 39 w 39"/>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35">
                  <a:moveTo>
                    <a:pt x="39" y="18"/>
                  </a:moveTo>
                  <a:lnTo>
                    <a:pt x="33" y="5"/>
                  </a:lnTo>
                  <a:lnTo>
                    <a:pt x="19" y="0"/>
                  </a:lnTo>
                  <a:lnTo>
                    <a:pt x="5" y="5"/>
                  </a:lnTo>
                  <a:lnTo>
                    <a:pt x="0" y="18"/>
                  </a:lnTo>
                  <a:lnTo>
                    <a:pt x="5" y="30"/>
                  </a:lnTo>
                  <a:lnTo>
                    <a:pt x="19" y="35"/>
                  </a:lnTo>
                  <a:lnTo>
                    <a:pt x="33" y="30"/>
                  </a:lnTo>
                  <a:lnTo>
                    <a:pt x="39" y="18"/>
                  </a:lnTo>
                  <a:close/>
                </a:path>
              </a:pathLst>
            </a:custGeom>
            <a:solidFill>
              <a:srgbClr val="0000FF"/>
            </a:solidFill>
            <a:ln w="1588" cap="rnd">
              <a:solidFill>
                <a:srgbClr val="0000FF"/>
              </a:solidFill>
              <a:prstDash val="solid"/>
              <a:round/>
              <a:headEnd/>
              <a:tailEnd/>
            </a:ln>
          </p:spPr>
          <p:txBody>
            <a:bodyPr/>
            <a:lstStyle/>
            <a:p>
              <a:pPr defTabSz="609539"/>
              <a:endParaRPr lang="en-US" sz="2399">
                <a:solidFill>
                  <a:srgbClr val="000000"/>
                </a:solidFill>
              </a:endParaRPr>
            </a:p>
          </p:txBody>
        </p:sp>
      </p:grpSp>
      <p:sp>
        <p:nvSpPr>
          <p:cNvPr id="204" name="Rectangle 215">
            <a:extLst>
              <a:ext uri="{FF2B5EF4-FFF2-40B4-BE49-F238E27FC236}">
                <a16:creationId xmlns:a16="http://schemas.microsoft.com/office/drawing/2014/main" id="{E4C7BA39-C52E-4A44-8C50-C57DF910D256}"/>
              </a:ext>
            </a:extLst>
          </p:cNvPr>
          <p:cNvSpPr>
            <a:spLocks noChangeArrowheads="1"/>
          </p:cNvSpPr>
          <p:nvPr>
            <p:custDataLst>
              <p:tags r:id="rId151"/>
            </p:custDataLst>
          </p:nvPr>
        </p:nvSpPr>
        <p:spPr bwMode="auto">
          <a:xfrm>
            <a:off x="11147266" y="1164421"/>
            <a:ext cx="301616" cy="112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b="1" dirty="0">
                <a:solidFill>
                  <a:schemeClr val="bg1"/>
                </a:solidFill>
                <a:effectLst>
                  <a:glow rad="101600">
                    <a:schemeClr val="accent6">
                      <a:satMod val="175000"/>
                      <a:alpha val="40000"/>
                    </a:schemeClr>
                  </a:glow>
                  <a:outerShdw blurRad="38100" dist="38100" dir="2700000" algn="tl">
                    <a:srgbClr val="000000">
                      <a:alpha val="43137"/>
                    </a:srgbClr>
                  </a:outerShdw>
                </a:effectLst>
                <a:latin typeface="+mn-lt"/>
              </a:rPr>
              <a:t>Japan</a:t>
            </a:r>
          </a:p>
        </p:txBody>
      </p:sp>
      <p:sp>
        <p:nvSpPr>
          <p:cNvPr id="205" name="Rectangle 216">
            <a:extLst>
              <a:ext uri="{FF2B5EF4-FFF2-40B4-BE49-F238E27FC236}">
                <a16:creationId xmlns:a16="http://schemas.microsoft.com/office/drawing/2014/main" id="{D0CC975D-CBD2-4C63-9F2E-506F30A5C7A0}"/>
              </a:ext>
            </a:extLst>
          </p:cNvPr>
          <p:cNvSpPr>
            <a:spLocks noChangeArrowheads="1"/>
          </p:cNvSpPr>
          <p:nvPr>
            <p:custDataLst>
              <p:tags r:id="rId152"/>
            </p:custDataLst>
          </p:nvPr>
        </p:nvSpPr>
        <p:spPr bwMode="auto">
          <a:xfrm>
            <a:off x="11193301" y="1372377"/>
            <a:ext cx="280518"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a:solidFill>
                  <a:srgbClr val="000000"/>
                </a:solidFill>
                <a:latin typeface="+mn-lt"/>
              </a:rPr>
              <a:t>Tokyo</a:t>
            </a:r>
          </a:p>
        </p:txBody>
      </p:sp>
      <p:sp>
        <p:nvSpPr>
          <p:cNvPr id="206" name="Freeform 221">
            <a:extLst>
              <a:ext uri="{FF2B5EF4-FFF2-40B4-BE49-F238E27FC236}">
                <a16:creationId xmlns:a16="http://schemas.microsoft.com/office/drawing/2014/main" id="{E4C592A8-0607-4036-8133-9D5F9BD42FFE}"/>
              </a:ext>
            </a:extLst>
          </p:cNvPr>
          <p:cNvSpPr>
            <a:spLocks/>
          </p:cNvSpPr>
          <p:nvPr>
            <p:custDataLst>
              <p:tags r:id="rId153"/>
            </p:custDataLst>
          </p:nvPr>
        </p:nvSpPr>
        <p:spPr bwMode="auto">
          <a:xfrm rot="120000">
            <a:off x="6459512" y="1058062"/>
            <a:ext cx="2952665" cy="1665239"/>
          </a:xfrm>
          <a:custGeom>
            <a:avLst/>
            <a:gdLst>
              <a:gd name="T0" fmla="*/ 1780 w 1812"/>
              <a:gd name="T1" fmla="*/ 53 h 1024"/>
              <a:gd name="T2" fmla="*/ 1731 w 1812"/>
              <a:gd name="T3" fmla="*/ 72 h 1024"/>
              <a:gd name="T4" fmla="*/ 1671 w 1812"/>
              <a:gd name="T5" fmla="*/ 117 h 1024"/>
              <a:gd name="T6" fmla="*/ 1625 w 1812"/>
              <a:gd name="T7" fmla="*/ 168 h 1024"/>
              <a:gd name="T8" fmla="*/ 1584 w 1812"/>
              <a:gd name="T9" fmla="*/ 195 h 1024"/>
              <a:gd name="T10" fmla="*/ 1574 w 1812"/>
              <a:gd name="T11" fmla="*/ 242 h 1024"/>
              <a:gd name="T12" fmla="*/ 1524 w 1812"/>
              <a:gd name="T13" fmla="*/ 319 h 1024"/>
              <a:gd name="T14" fmla="*/ 1438 w 1812"/>
              <a:gd name="T15" fmla="*/ 338 h 1024"/>
              <a:gd name="T16" fmla="*/ 1337 w 1812"/>
              <a:gd name="T17" fmla="*/ 389 h 1024"/>
              <a:gd name="T18" fmla="*/ 1223 w 1812"/>
              <a:gd name="T19" fmla="*/ 391 h 1024"/>
              <a:gd name="T20" fmla="*/ 1122 w 1812"/>
              <a:gd name="T21" fmla="*/ 370 h 1024"/>
              <a:gd name="T22" fmla="*/ 1052 w 1812"/>
              <a:gd name="T23" fmla="*/ 387 h 1024"/>
              <a:gd name="T24" fmla="*/ 971 w 1812"/>
              <a:gd name="T25" fmla="*/ 361 h 1024"/>
              <a:gd name="T26" fmla="*/ 935 w 1812"/>
              <a:gd name="T27" fmla="*/ 302 h 1024"/>
              <a:gd name="T28" fmla="*/ 878 w 1812"/>
              <a:gd name="T29" fmla="*/ 274 h 1024"/>
              <a:gd name="T30" fmla="*/ 751 w 1812"/>
              <a:gd name="T31" fmla="*/ 250 h 1024"/>
              <a:gd name="T32" fmla="*/ 761 w 1812"/>
              <a:gd name="T33" fmla="*/ 179 h 1024"/>
              <a:gd name="T34" fmla="*/ 747 w 1812"/>
              <a:gd name="T35" fmla="*/ 126 h 1024"/>
              <a:gd name="T36" fmla="*/ 675 w 1812"/>
              <a:gd name="T37" fmla="*/ 71 h 1024"/>
              <a:gd name="T38" fmla="*/ 623 w 1812"/>
              <a:gd name="T39" fmla="*/ 2 h 1024"/>
              <a:gd name="T40" fmla="*/ 582 w 1812"/>
              <a:gd name="T41" fmla="*/ 36 h 1024"/>
              <a:gd name="T42" fmla="*/ 539 w 1812"/>
              <a:gd name="T43" fmla="*/ 78 h 1024"/>
              <a:gd name="T44" fmla="*/ 539 w 1812"/>
              <a:gd name="T45" fmla="*/ 107 h 1024"/>
              <a:gd name="T46" fmla="*/ 479 w 1812"/>
              <a:gd name="T47" fmla="*/ 114 h 1024"/>
              <a:gd name="T48" fmla="*/ 422 w 1812"/>
              <a:gd name="T49" fmla="*/ 143 h 1024"/>
              <a:gd name="T50" fmla="*/ 406 w 1812"/>
              <a:gd name="T51" fmla="*/ 190 h 1024"/>
              <a:gd name="T52" fmla="*/ 306 w 1812"/>
              <a:gd name="T53" fmla="*/ 208 h 1024"/>
              <a:gd name="T54" fmla="*/ 334 w 1812"/>
              <a:gd name="T55" fmla="*/ 269 h 1024"/>
              <a:gd name="T56" fmla="*/ 316 w 1812"/>
              <a:gd name="T57" fmla="*/ 320 h 1024"/>
              <a:gd name="T58" fmla="*/ 314 w 1812"/>
              <a:gd name="T59" fmla="*/ 361 h 1024"/>
              <a:gd name="T60" fmla="*/ 314 w 1812"/>
              <a:gd name="T61" fmla="*/ 385 h 1024"/>
              <a:gd name="T62" fmla="*/ 216 w 1812"/>
              <a:gd name="T63" fmla="*/ 390 h 1024"/>
              <a:gd name="T64" fmla="*/ 184 w 1812"/>
              <a:gd name="T65" fmla="*/ 415 h 1024"/>
              <a:gd name="T66" fmla="*/ 144 w 1812"/>
              <a:gd name="T67" fmla="*/ 434 h 1024"/>
              <a:gd name="T68" fmla="*/ 113 w 1812"/>
              <a:gd name="T69" fmla="*/ 456 h 1024"/>
              <a:gd name="T70" fmla="*/ 57 w 1812"/>
              <a:gd name="T71" fmla="*/ 444 h 1024"/>
              <a:gd name="T72" fmla="*/ 14 w 1812"/>
              <a:gd name="T73" fmla="*/ 489 h 1024"/>
              <a:gd name="T74" fmla="*/ 14 w 1812"/>
              <a:gd name="T75" fmla="*/ 538 h 1024"/>
              <a:gd name="T76" fmla="*/ 44 w 1812"/>
              <a:gd name="T77" fmla="*/ 553 h 1024"/>
              <a:gd name="T78" fmla="*/ 19 w 1812"/>
              <a:gd name="T79" fmla="*/ 600 h 1024"/>
              <a:gd name="T80" fmla="*/ 27 w 1812"/>
              <a:gd name="T81" fmla="*/ 647 h 1024"/>
              <a:gd name="T82" fmla="*/ 49 w 1812"/>
              <a:gd name="T83" fmla="*/ 696 h 1024"/>
              <a:gd name="T84" fmla="*/ 95 w 1812"/>
              <a:gd name="T85" fmla="*/ 707 h 1024"/>
              <a:gd name="T86" fmla="*/ 134 w 1812"/>
              <a:gd name="T87" fmla="*/ 742 h 1024"/>
              <a:gd name="T88" fmla="*/ 199 w 1812"/>
              <a:gd name="T89" fmla="*/ 790 h 1024"/>
              <a:gd name="T90" fmla="*/ 213 w 1812"/>
              <a:gd name="T91" fmla="*/ 873 h 1024"/>
              <a:gd name="T92" fmla="*/ 200 w 1812"/>
              <a:gd name="T93" fmla="*/ 918 h 1024"/>
              <a:gd name="T94" fmla="*/ 156 w 1812"/>
              <a:gd name="T95" fmla="*/ 915 h 1024"/>
              <a:gd name="T96" fmla="*/ 178 w 1812"/>
              <a:gd name="T97" fmla="*/ 964 h 1024"/>
              <a:gd name="T98" fmla="*/ 248 w 1812"/>
              <a:gd name="T99" fmla="*/ 1010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12" h="1024">
                <a:moveTo>
                  <a:pt x="1812" y="26"/>
                </a:moveTo>
                <a:lnTo>
                  <a:pt x="1797" y="32"/>
                </a:lnTo>
                <a:lnTo>
                  <a:pt x="1786" y="42"/>
                </a:lnTo>
                <a:lnTo>
                  <a:pt x="1780" y="53"/>
                </a:lnTo>
                <a:lnTo>
                  <a:pt x="1769" y="57"/>
                </a:lnTo>
                <a:lnTo>
                  <a:pt x="1757" y="59"/>
                </a:lnTo>
                <a:lnTo>
                  <a:pt x="1744" y="63"/>
                </a:lnTo>
                <a:lnTo>
                  <a:pt x="1731" y="72"/>
                </a:lnTo>
                <a:lnTo>
                  <a:pt x="1723" y="84"/>
                </a:lnTo>
                <a:lnTo>
                  <a:pt x="1710" y="96"/>
                </a:lnTo>
                <a:lnTo>
                  <a:pt x="1683" y="108"/>
                </a:lnTo>
                <a:lnTo>
                  <a:pt x="1671" y="117"/>
                </a:lnTo>
                <a:lnTo>
                  <a:pt x="1660" y="129"/>
                </a:lnTo>
                <a:lnTo>
                  <a:pt x="1654" y="140"/>
                </a:lnTo>
                <a:lnTo>
                  <a:pt x="1637" y="161"/>
                </a:lnTo>
                <a:lnTo>
                  <a:pt x="1625" y="168"/>
                </a:lnTo>
                <a:lnTo>
                  <a:pt x="1604" y="168"/>
                </a:lnTo>
                <a:lnTo>
                  <a:pt x="1585" y="173"/>
                </a:lnTo>
                <a:lnTo>
                  <a:pt x="1581" y="182"/>
                </a:lnTo>
                <a:lnTo>
                  <a:pt x="1584" y="195"/>
                </a:lnTo>
                <a:lnTo>
                  <a:pt x="1595" y="209"/>
                </a:lnTo>
                <a:lnTo>
                  <a:pt x="1594" y="220"/>
                </a:lnTo>
                <a:lnTo>
                  <a:pt x="1581" y="231"/>
                </a:lnTo>
                <a:lnTo>
                  <a:pt x="1574" y="242"/>
                </a:lnTo>
                <a:lnTo>
                  <a:pt x="1567" y="251"/>
                </a:lnTo>
                <a:lnTo>
                  <a:pt x="1554" y="277"/>
                </a:lnTo>
                <a:lnTo>
                  <a:pt x="1543" y="295"/>
                </a:lnTo>
                <a:lnTo>
                  <a:pt x="1524" y="319"/>
                </a:lnTo>
                <a:lnTo>
                  <a:pt x="1513" y="327"/>
                </a:lnTo>
                <a:lnTo>
                  <a:pt x="1492" y="330"/>
                </a:lnTo>
                <a:lnTo>
                  <a:pt x="1452" y="334"/>
                </a:lnTo>
                <a:lnTo>
                  <a:pt x="1438" y="338"/>
                </a:lnTo>
                <a:lnTo>
                  <a:pt x="1414" y="350"/>
                </a:lnTo>
                <a:lnTo>
                  <a:pt x="1396" y="364"/>
                </a:lnTo>
                <a:lnTo>
                  <a:pt x="1369" y="378"/>
                </a:lnTo>
                <a:lnTo>
                  <a:pt x="1337" y="389"/>
                </a:lnTo>
                <a:lnTo>
                  <a:pt x="1315" y="395"/>
                </a:lnTo>
                <a:lnTo>
                  <a:pt x="1281" y="399"/>
                </a:lnTo>
                <a:lnTo>
                  <a:pt x="1237" y="395"/>
                </a:lnTo>
                <a:lnTo>
                  <a:pt x="1223" y="391"/>
                </a:lnTo>
                <a:lnTo>
                  <a:pt x="1208" y="384"/>
                </a:lnTo>
                <a:lnTo>
                  <a:pt x="1179" y="378"/>
                </a:lnTo>
                <a:lnTo>
                  <a:pt x="1165" y="375"/>
                </a:lnTo>
                <a:lnTo>
                  <a:pt x="1122" y="370"/>
                </a:lnTo>
                <a:lnTo>
                  <a:pt x="1107" y="370"/>
                </a:lnTo>
                <a:lnTo>
                  <a:pt x="1092" y="373"/>
                </a:lnTo>
                <a:lnTo>
                  <a:pt x="1071" y="384"/>
                </a:lnTo>
                <a:lnTo>
                  <a:pt x="1052" y="387"/>
                </a:lnTo>
                <a:lnTo>
                  <a:pt x="1039" y="386"/>
                </a:lnTo>
                <a:lnTo>
                  <a:pt x="1007" y="380"/>
                </a:lnTo>
                <a:lnTo>
                  <a:pt x="983" y="375"/>
                </a:lnTo>
                <a:lnTo>
                  <a:pt x="971" y="361"/>
                </a:lnTo>
                <a:lnTo>
                  <a:pt x="964" y="347"/>
                </a:lnTo>
                <a:lnTo>
                  <a:pt x="953" y="327"/>
                </a:lnTo>
                <a:lnTo>
                  <a:pt x="944" y="310"/>
                </a:lnTo>
                <a:lnTo>
                  <a:pt x="935" y="302"/>
                </a:lnTo>
                <a:lnTo>
                  <a:pt x="921" y="296"/>
                </a:lnTo>
                <a:lnTo>
                  <a:pt x="904" y="291"/>
                </a:lnTo>
                <a:lnTo>
                  <a:pt x="894" y="285"/>
                </a:lnTo>
                <a:lnTo>
                  <a:pt x="878" y="274"/>
                </a:lnTo>
                <a:lnTo>
                  <a:pt x="862" y="262"/>
                </a:lnTo>
                <a:lnTo>
                  <a:pt x="848" y="253"/>
                </a:lnTo>
                <a:lnTo>
                  <a:pt x="834" y="251"/>
                </a:lnTo>
                <a:lnTo>
                  <a:pt x="751" y="250"/>
                </a:lnTo>
                <a:lnTo>
                  <a:pt x="749" y="235"/>
                </a:lnTo>
                <a:lnTo>
                  <a:pt x="749" y="223"/>
                </a:lnTo>
                <a:lnTo>
                  <a:pt x="752" y="200"/>
                </a:lnTo>
                <a:lnTo>
                  <a:pt x="761" y="179"/>
                </a:lnTo>
                <a:lnTo>
                  <a:pt x="762" y="168"/>
                </a:lnTo>
                <a:lnTo>
                  <a:pt x="762" y="154"/>
                </a:lnTo>
                <a:lnTo>
                  <a:pt x="759" y="142"/>
                </a:lnTo>
                <a:lnTo>
                  <a:pt x="747" y="126"/>
                </a:lnTo>
                <a:lnTo>
                  <a:pt x="722" y="107"/>
                </a:lnTo>
                <a:lnTo>
                  <a:pt x="707" y="96"/>
                </a:lnTo>
                <a:lnTo>
                  <a:pt x="684" y="78"/>
                </a:lnTo>
                <a:lnTo>
                  <a:pt x="675" y="71"/>
                </a:lnTo>
                <a:lnTo>
                  <a:pt x="664" y="53"/>
                </a:lnTo>
                <a:lnTo>
                  <a:pt x="640" y="0"/>
                </a:lnTo>
                <a:lnTo>
                  <a:pt x="639" y="0"/>
                </a:lnTo>
                <a:lnTo>
                  <a:pt x="623" y="2"/>
                </a:lnTo>
                <a:lnTo>
                  <a:pt x="612" y="5"/>
                </a:lnTo>
                <a:lnTo>
                  <a:pt x="600" y="13"/>
                </a:lnTo>
                <a:lnTo>
                  <a:pt x="587" y="24"/>
                </a:lnTo>
                <a:lnTo>
                  <a:pt x="582" y="36"/>
                </a:lnTo>
                <a:lnTo>
                  <a:pt x="577" y="41"/>
                </a:lnTo>
                <a:lnTo>
                  <a:pt x="549" y="44"/>
                </a:lnTo>
                <a:lnTo>
                  <a:pt x="539" y="54"/>
                </a:lnTo>
                <a:lnTo>
                  <a:pt x="539" y="78"/>
                </a:lnTo>
                <a:lnTo>
                  <a:pt x="544" y="89"/>
                </a:lnTo>
                <a:lnTo>
                  <a:pt x="546" y="96"/>
                </a:lnTo>
                <a:lnTo>
                  <a:pt x="544" y="101"/>
                </a:lnTo>
                <a:lnTo>
                  <a:pt x="539" y="107"/>
                </a:lnTo>
                <a:lnTo>
                  <a:pt x="528" y="109"/>
                </a:lnTo>
                <a:lnTo>
                  <a:pt x="517" y="114"/>
                </a:lnTo>
                <a:lnTo>
                  <a:pt x="492" y="117"/>
                </a:lnTo>
                <a:lnTo>
                  <a:pt x="479" y="114"/>
                </a:lnTo>
                <a:lnTo>
                  <a:pt x="454" y="111"/>
                </a:lnTo>
                <a:lnTo>
                  <a:pt x="436" y="109"/>
                </a:lnTo>
                <a:lnTo>
                  <a:pt x="422" y="119"/>
                </a:lnTo>
                <a:lnTo>
                  <a:pt x="422" y="143"/>
                </a:lnTo>
                <a:lnTo>
                  <a:pt x="415" y="155"/>
                </a:lnTo>
                <a:lnTo>
                  <a:pt x="409" y="166"/>
                </a:lnTo>
                <a:lnTo>
                  <a:pt x="409" y="187"/>
                </a:lnTo>
                <a:lnTo>
                  <a:pt x="406" y="190"/>
                </a:lnTo>
                <a:lnTo>
                  <a:pt x="390" y="202"/>
                </a:lnTo>
                <a:lnTo>
                  <a:pt x="344" y="202"/>
                </a:lnTo>
                <a:lnTo>
                  <a:pt x="322" y="206"/>
                </a:lnTo>
                <a:lnTo>
                  <a:pt x="306" y="208"/>
                </a:lnTo>
                <a:lnTo>
                  <a:pt x="301" y="213"/>
                </a:lnTo>
                <a:lnTo>
                  <a:pt x="301" y="226"/>
                </a:lnTo>
                <a:lnTo>
                  <a:pt x="308" y="239"/>
                </a:lnTo>
                <a:lnTo>
                  <a:pt x="334" y="269"/>
                </a:lnTo>
                <a:lnTo>
                  <a:pt x="341" y="285"/>
                </a:lnTo>
                <a:lnTo>
                  <a:pt x="337" y="302"/>
                </a:lnTo>
                <a:lnTo>
                  <a:pt x="325" y="314"/>
                </a:lnTo>
                <a:lnTo>
                  <a:pt x="316" y="320"/>
                </a:lnTo>
                <a:lnTo>
                  <a:pt x="309" y="328"/>
                </a:lnTo>
                <a:lnTo>
                  <a:pt x="308" y="341"/>
                </a:lnTo>
                <a:lnTo>
                  <a:pt x="308" y="353"/>
                </a:lnTo>
                <a:lnTo>
                  <a:pt x="314" y="361"/>
                </a:lnTo>
                <a:lnTo>
                  <a:pt x="331" y="375"/>
                </a:lnTo>
                <a:lnTo>
                  <a:pt x="331" y="377"/>
                </a:lnTo>
                <a:lnTo>
                  <a:pt x="325" y="382"/>
                </a:lnTo>
                <a:lnTo>
                  <a:pt x="314" y="385"/>
                </a:lnTo>
                <a:lnTo>
                  <a:pt x="301" y="387"/>
                </a:lnTo>
                <a:lnTo>
                  <a:pt x="285" y="390"/>
                </a:lnTo>
                <a:lnTo>
                  <a:pt x="233" y="387"/>
                </a:lnTo>
                <a:lnTo>
                  <a:pt x="216" y="390"/>
                </a:lnTo>
                <a:lnTo>
                  <a:pt x="209" y="395"/>
                </a:lnTo>
                <a:lnTo>
                  <a:pt x="203" y="405"/>
                </a:lnTo>
                <a:lnTo>
                  <a:pt x="198" y="410"/>
                </a:lnTo>
                <a:lnTo>
                  <a:pt x="184" y="415"/>
                </a:lnTo>
                <a:lnTo>
                  <a:pt x="174" y="421"/>
                </a:lnTo>
                <a:lnTo>
                  <a:pt x="155" y="418"/>
                </a:lnTo>
                <a:lnTo>
                  <a:pt x="144" y="429"/>
                </a:lnTo>
                <a:lnTo>
                  <a:pt x="144" y="434"/>
                </a:lnTo>
                <a:lnTo>
                  <a:pt x="139" y="447"/>
                </a:lnTo>
                <a:lnTo>
                  <a:pt x="132" y="451"/>
                </a:lnTo>
                <a:lnTo>
                  <a:pt x="123" y="455"/>
                </a:lnTo>
                <a:lnTo>
                  <a:pt x="113" y="456"/>
                </a:lnTo>
                <a:lnTo>
                  <a:pt x="100" y="455"/>
                </a:lnTo>
                <a:lnTo>
                  <a:pt x="89" y="450"/>
                </a:lnTo>
                <a:lnTo>
                  <a:pt x="78" y="447"/>
                </a:lnTo>
                <a:lnTo>
                  <a:pt x="57" y="444"/>
                </a:lnTo>
                <a:lnTo>
                  <a:pt x="30" y="455"/>
                </a:lnTo>
                <a:lnTo>
                  <a:pt x="19" y="465"/>
                </a:lnTo>
                <a:lnTo>
                  <a:pt x="16" y="476"/>
                </a:lnTo>
                <a:lnTo>
                  <a:pt x="14" y="489"/>
                </a:lnTo>
                <a:lnTo>
                  <a:pt x="11" y="499"/>
                </a:lnTo>
                <a:lnTo>
                  <a:pt x="0" y="519"/>
                </a:lnTo>
                <a:lnTo>
                  <a:pt x="3" y="525"/>
                </a:lnTo>
                <a:lnTo>
                  <a:pt x="14" y="538"/>
                </a:lnTo>
                <a:lnTo>
                  <a:pt x="27" y="538"/>
                </a:lnTo>
                <a:lnTo>
                  <a:pt x="38" y="541"/>
                </a:lnTo>
                <a:lnTo>
                  <a:pt x="42" y="543"/>
                </a:lnTo>
                <a:lnTo>
                  <a:pt x="44" y="553"/>
                </a:lnTo>
                <a:lnTo>
                  <a:pt x="44" y="566"/>
                </a:lnTo>
                <a:lnTo>
                  <a:pt x="41" y="578"/>
                </a:lnTo>
                <a:lnTo>
                  <a:pt x="35" y="588"/>
                </a:lnTo>
                <a:lnTo>
                  <a:pt x="19" y="600"/>
                </a:lnTo>
                <a:lnTo>
                  <a:pt x="3" y="618"/>
                </a:lnTo>
                <a:lnTo>
                  <a:pt x="0" y="623"/>
                </a:lnTo>
                <a:lnTo>
                  <a:pt x="8" y="632"/>
                </a:lnTo>
                <a:lnTo>
                  <a:pt x="27" y="647"/>
                </a:lnTo>
                <a:lnTo>
                  <a:pt x="38" y="660"/>
                </a:lnTo>
                <a:lnTo>
                  <a:pt x="41" y="671"/>
                </a:lnTo>
                <a:lnTo>
                  <a:pt x="44" y="686"/>
                </a:lnTo>
                <a:lnTo>
                  <a:pt x="49" y="696"/>
                </a:lnTo>
                <a:lnTo>
                  <a:pt x="60" y="707"/>
                </a:lnTo>
                <a:lnTo>
                  <a:pt x="71" y="709"/>
                </a:lnTo>
                <a:lnTo>
                  <a:pt x="82" y="709"/>
                </a:lnTo>
                <a:lnTo>
                  <a:pt x="95" y="707"/>
                </a:lnTo>
                <a:lnTo>
                  <a:pt x="100" y="712"/>
                </a:lnTo>
                <a:lnTo>
                  <a:pt x="101" y="711"/>
                </a:lnTo>
                <a:lnTo>
                  <a:pt x="118" y="729"/>
                </a:lnTo>
                <a:lnTo>
                  <a:pt x="134" y="742"/>
                </a:lnTo>
                <a:lnTo>
                  <a:pt x="151" y="756"/>
                </a:lnTo>
                <a:lnTo>
                  <a:pt x="171" y="763"/>
                </a:lnTo>
                <a:lnTo>
                  <a:pt x="186" y="769"/>
                </a:lnTo>
                <a:lnTo>
                  <a:pt x="199" y="790"/>
                </a:lnTo>
                <a:lnTo>
                  <a:pt x="204" y="818"/>
                </a:lnTo>
                <a:lnTo>
                  <a:pt x="204" y="832"/>
                </a:lnTo>
                <a:lnTo>
                  <a:pt x="207" y="852"/>
                </a:lnTo>
                <a:lnTo>
                  <a:pt x="213" y="873"/>
                </a:lnTo>
                <a:lnTo>
                  <a:pt x="222" y="893"/>
                </a:lnTo>
                <a:lnTo>
                  <a:pt x="225" y="909"/>
                </a:lnTo>
                <a:lnTo>
                  <a:pt x="215" y="916"/>
                </a:lnTo>
                <a:lnTo>
                  <a:pt x="200" y="918"/>
                </a:lnTo>
                <a:lnTo>
                  <a:pt x="187" y="913"/>
                </a:lnTo>
                <a:lnTo>
                  <a:pt x="171" y="901"/>
                </a:lnTo>
                <a:lnTo>
                  <a:pt x="160" y="903"/>
                </a:lnTo>
                <a:lnTo>
                  <a:pt x="156" y="915"/>
                </a:lnTo>
                <a:lnTo>
                  <a:pt x="163" y="936"/>
                </a:lnTo>
                <a:lnTo>
                  <a:pt x="171" y="942"/>
                </a:lnTo>
                <a:lnTo>
                  <a:pt x="176" y="950"/>
                </a:lnTo>
                <a:lnTo>
                  <a:pt x="178" y="964"/>
                </a:lnTo>
                <a:lnTo>
                  <a:pt x="200" y="981"/>
                </a:lnTo>
                <a:lnTo>
                  <a:pt x="215" y="990"/>
                </a:lnTo>
                <a:lnTo>
                  <a:pt x="228" y="998"/>
                </a:lnTo>
                <a:lnTo>
                  <a:pt x="248" y="1010"/>
                </a:lnTo>
                <a:lnTo>
                  <a:pt x="265" y="1024"/>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chemeClr val="bg1"/>
                </a:solidFill>
              </a14:hiddenFill>
            </a:ext>
          </a:extLst>
        </p:spPr>
        <p:txBody>
          <a:bodyPr/>
          <a:lstStyle/>
          <a:p>
            <a:pPr defTabSz="609539"/>
            <a:endParaRPr lang="en-US" sz="2399">
              <a:solidFill>
                <a:srgbClr val="000000"/>
              </a:solidFill>
            </a:endParaRPr>
          </a:p>
        </p:txBody>
      </p:sp>
      <p:sp>
        <p:nvSpPr>
          <p:cNvPr id="207" name="Freeform 222">
            <a:extLst>
              <a:ext uri="{FF2B5EF4-FFF2-40B4-BE49-F238E27FC236}">
                <a16:creationId xmlns:a16="http://schemas.microsoft.com/office/drawing/2014/main" id="{E9CFA8DC-6966-44D1-B272-06B23D99DBF1}"/>
              </a:ext>
            </a:extLst>
          </p:cNvPr>
          <p:cNvSpPr>
            <a:spLocks/>
          </p:cNvSpPr>
          <p:nvPr>
            <p:custDataLst>
              <p:tags r:id="rId154"/>
            </p:custDataLst>
          </p:nvPr>
        </p:nvSpPr>
        <p:spPr bwMode="auto">
          <a:xfrm rot="120000">
            <a:off x="6889712" y="364345"/>
            <a:ext cx="3422551" cy="3190783"/>
          </a:xfrm>
          <a:custGeom>
            <a:avLst/>
            <a:gdLst>
              <a:gd name="T0" fmla="*/ 137 w 2101"/>
              <a:gd name="T1" fmla="*/ 1536 h 1963"/>
              <a:gd name="T2" fmla="*/ 237 w 2101"/>
              <a:gd name="T3" fmla="*/ 1604 h 1963"/>
              <a:gd name="T4" fmla="*/ 381 w 2101"/>
              <a:gd name="T5" fmla="*/ 1645 h 1963"/>
              <a:gd name="T6" fmla="*/ 411 w 2101"/>
              <a:gd name="T7" fmla="*/ 1659 h 1963"/>
              <a:gd name="T8" fmla="*/ 536 w 2101"/>
              <a:gd name="T9" fmla="*/ 1631 h 1963"/>
              <a:gd name="T10" fmla="*/ 666 w 2101"/>
              <a:gd name="T11" fmla="*/ 1587 h 1963"/>
              <a:gd name="T12" fmla="*/ 774 w 2101"/>
              <a:gd name="T13" fmla="*/ 1553 h 1963"/>
              <a:gd name="T14" fmla="*/ 883 w 2101"/>
              <a:gd name="T15" fmla="*/ 1620 h 1963"/>
              <a:gd name="T16" fmla="*/ 906 w 2101"/>
              <a:gd name="T17" fmla="*/ 1713 h 1963"/>
              <a:gd name="T18" fmla="*/ 837 w 2101"/>
              <a:gd name="T19" fmla="*/ 1791 h 1963"/>
              <a:gd name="T20" fmla="*/ 849 w 2101"/>
              <a:gd name="T21" fmla="*/ 1847 h 1963"/>
              <a:gd name="T22" fmla="*/ 924 w 2101"/>
              <a:gd name="T23" fmla="*/ 1857 h 1963"/>
              <a:gd name="T24" fmla="*/ 961 w 2101"/>
              <a:gd name="T25" fmla="*/ 1896 h 1963"/>
              <a:gd name="T26" fmla="*/ 1025 w 2101"/>
              <a:gd name="T27" fmla="*/ 1949 h 1963"/>
              <a:gd name="T28" fmla="*/ 1083 w 2101"/>
              <a:gd name="T29" fmla="*/ 1954 h 1963"/>
              <a:gd name="T30" fmla="*/ 1119 w 2101"/>
              <a:gd name="T31" fmla="*/ 1883 h 1963"/>
              <a:gd name="T32" fmla="*/ 1217 w 2101"/>
              <a:gd name="T33" fmla="*/ 1867 h 1963"/>
              <a:gd name="T34" fmla="*/ 1285 w 2101"/>
              <a:gd name="T35" fmla="*/ 1813 h 1963"/>
              <a:gd name="T36" fmla="*/ 1331 w 2101"/>
              <a:gd name="T37" fmla="*/ 1852 h 1963"/>
              <a:gd name="T38" fmla="*/ 1397 w 2101"/>
              <a:gd name="T39" fmla="*/ 1905 h 1963"/>
              <a:gd name="T40" fmla="*/ 1496 w 2101"/>
              <a:gd name="T41" fmla="*/ 1890 h 1963"/>
              <a:gd name="T42" fmla="*/ 1539 w 2101"/>
              <a:gd name="T43" fmla="*/ 1947 h 1963"/>
              <a:gd name="T44" fmla="*/ 1557 w 2101"/>
              <a:gd name="T45" fmla="*/ 1880 h 1963"/>
              <a:gd name="T46" fmla="*/ 1657 w 2101"/>
              <a:gd name="T47" fmla="*/ 1823 h 1963"/>
              <a:gd name="T48" fmla="*/ 1688 w 2101"/>
              <a:gd name="T49" fmla="*/ 1757 h 1963"/>
              <a:gd name="T50" fmla="*/ 1741 w 2101"/>
              <a:gd name="T51" fmla="*/ 1760 h 1963"/>
              <a:gd name="T52" fmla="*/ 1838 w 2101"/>
              <a:gd name="T53" fmla="*/ 1699 h 1963"/>
              <a:gd name="T54" fmla="*/ 1890 w 2101"/>
              <a:gd name="T55" fmla="*/ 1653 h 1963"/>
              <a:gd name="T56" fmla="*/ 1944 w 2101"/>
              <a:gd name="T57" fmla="*/ 1542 h 1963"/>
              <a:gd name="T58" fmla="*/ 1959 w 2101"/>
              <a:gd name="T59" fmla="*/ 1477 h 1963"/>
              <a:gd name="T60" fmla="*/ 1966 w 2101"/>
              <a:gd name="T61" fmla="*/ 1391 h 1963"/>
              <a:gd name="T62" fmla="*/ 1998 w 2101"/>
              <a:gd name="T63" fmla="*/ 1310 h 1963"/>
              <a:gd name="T64" fmla="*/ 1995 w 2101"/>
              <a:gd name="T65" fmla="*/ 1279 h 1963"/>
              <a:gd name="T66" fmla="*/ 1948 w 2101"/>
              <a:gd name="T67" fmla="*/ 1268 h 1963"/>
              <a:gd name="T68" fmla="*/ 1952 w 2101"/>
              <a:gd name="T69" fmla="*/ 1224 h 1963"/>
              <a:gd name="T70" fmla="*/ 1893 w 2101"/>
              <a:gd name="T71" fmla="*/ 1175 h 1963"/>
              <a:gd name="T72" fmla="*/ 1893 w 2101"/>
              <a:gd name="T73" fmla="*/ 1134 h 1963"/>
              <a:gd name="T74" fmla="*/ 1817 w 2101"/>
              <a:gd name="T75" fmla="*/ 1063 h 1963"/>
              <a:gd name="T76" fmla="*/ 1799 w 2101"/>
              <a:gd name="T77" fmla="*/ 988 h 1963"/>
              <a:gd name="T78" fmla="*/ 1860 w 2101"/>
              <a:gd name="T79" fmla="*/ 899 h 1963"/>
              <a:gd name="T80" fmla="*/ 1782 w 2101"/>
              <a:gd name="T81" fmla="*/ 871 h 1963"/>
              <a:gd name="T82" fmla="*/ 1706 w 2101"/>
              <a:gd name="T83" fmla="*/ 899 h 1963"/>
              <a:gd name="T84" fmla="*/ 1655 w 2101"/>
              <a:gd name="T85" fmla="*/ 838 h 1963"/>
              <a:gd name="T86" fmla="*/ 1717 w 2101"/>
              <a:gd name="T87" fmla="*/ 746 h 1963"/>
              <a:gd name="T88" fmla="*/ 1795 w 2101"/>
              <a:gd name="T89" fmla="*/ 720 h 1963"/>
              <a:gd name="T90" fmla="*/ 1790 w 2101"/>
              <a:gd name="T91" fmla="*/ 811 h 1963"/>
              <a:gd name="T92" fmla="*/ 1870 w 2101"/>
              <a:gd name="T93" fmla="*/ 731 h 1963"/>
              <a:gd name="T94" fmla="*/ 1921 w 2101"/>
              <a:gd name="T95" fmla="*/ 635 h 1963"/>
              <a:gd name="T96" fmla="*/ 1980 w 2101"/>
              <a:gd name="T97" fmla="*/ 589 h 1963"/>
              <a:gd name="T98" fmla="*/ 2020 w 2101"/>
              <a:gd name="T99" fmla="*/ 470 h 1963"/>
              <a:gd name="T100" fmla="*/ 2048 w 2101"/>
              <a:gd name="T101" fmla="*/ 353 h 1963"/>
              <a:gd name="T102" fmla="*/ 2099 w 2101"/>
              <a:gd name="T103" fmla="*/ 265 h 1963"/>
              <a:gd name="T104" fmla="*/ 2063 w 2101"/>
              <a:gd name="T105" fmla="*/ 161 h 1963"/>
              <a:gd name="T106" fmla="*/ 2017 w 2101"/>
              <a:gd name="T107" fmla="*/ 93 h 1963"/>
              <a:gd name="T108" fmla="*/ 1863 w 2101"/>
              <a:gd name="T109" fmla="*/ 122 h 1963"/>
              <a:gd name="T110" fmla="*/ 1738 w 2101"/>
              <a:gd name="T111" fmla="*/ 101 h 1963"/>
              <a:gd name="T112" fmla="*/ 1622 w 2101"/>
              <a:gd name="T113" fmla="*/ 2 h 1963"/>
              <a:gd name="T114" fmla="*/ 1517 w 2101"/>
              <a:gd name="T115" fmla="*/ 21 h 1963"/>
              <a:gd name="T116" fmla="*/ 1460 w 2101"/>
              <a:gd name="T117" fmla="*/ 80 h 1963"/>
              <a:gd name="T118" fmla="*/ 1471 w 2101"/>
              <a:gd name="T119" fmla="*/ 229 h 1963"/>
              <a:gd name="T120" fmla="*/ 1409 w 2101"/>
              <a:gd name="T121" fmla="*/ 283 h 1963"/>
              <a:gd name="T122" fmla="*/ 1404 w 2101"/>
              <a:gd name="T123" fmla="*/ 421 h 1963"/>
              <a:gd name="T124" fmla="*/ 1489 w 2101"/>
              <a:gd name="T125" fmla="*/ 386 h 1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1" h="1963">
                <a:moveTo>
                  <a:pt x="0" y="1463"/>
                </a:moveTo>
                <a:lnTo>
                  <a:pt x="1" y="1464"/>
                </a:lnTo>
                <a:lnTo>
                  <a:pt x="4" y="1466"/>
                </a:lnTo>
                <a:lnTo>
                  <a:pt x="14" y="1477"/>
                </a:lnTo>
                <a:lnTo>
                  <a:pt x="35" y="1490"/>
                </a:lnTo>
                <a:lnTo>
                  <a:pt x="79" y="1511"/>
                </a:lnTo>
                <a:lnTo>
                  <a:pt x="107" y="1525"/>
                </a:lnTo>
                <a:lnTo>
                  <a:pt x="137" y="1536"/>
                </a:lnTo>
                <a:lnTo>
                  <a:pt x="150" y="1541"/>
                </a:lnTo>
                <a:lnTo>
                  <a:pt x="171" y="1551"/>
                </a:lnTo>
                <a:lnTo>
                  <a:pt x="192" y="1562"/>
                </a:lnTo>
                <a:lnTo>
                  <a:pt x="207" y="1572"/>
                </a:lnTo>
                <a:lnTo>
                  <a:pt x="214" y="1580"/>
                </a:lnTo>
                <a:lnTo>
                  <a:pt x="222" y="1589"/>
                </a:lnTo>
                <a:lnTo>
                  <a:pt x="229" y="1597"/>
                </a:lnTo>
                <a:lnTo>
                  <a:pt x="237" y="1604"/>
                </a:lnTo>
                <a:lnTo>
                  <a:pt x="251" y="1604"/>
                </a:lnTo>
                <a:lnTo>
                  <a:pt x="266" y="1617"/>
                </a:lnTo>
                <a:lnTo>
                  <a:pt x="281" y="1618"/>
                </a:lnTo>
                <a:lnTo>
                  <a:pt x="306" y="1620"/>
                </a:lnTo>
                <a:lnTo>
                  <a:pt x="334" y="1626"/>
                </a:lnTo>
                <a:lnTo>
                  <a:pt x="352" y="1631"/>
                </a:lnTo>
                <a:lnTo>
                  <a:pt x="367" y="1637"/>
                </a:lnTo>
                <a:lnTo>
                  <a:pt x="381" y="1645"/>
                </a:lnTo>
                <a:lnTo>
                  <a:pt x="386" y="1631"/>
                </a:lnTo>
                <a:lnTo>
                  <a:pt x="389" y="1625"/>
                </a:lnTo>
                <a:lnTo>
                  <a:pt x="396" y="1617"/>
                </a:lnTo>
                <a:lnTo>
                  <a:pt x="404" y="1623"/>
                </a:lnTo>
                <a:lnTo>
                  <a:pt x="408" y="1631"/>
                </a:lnTo>
                <a:lnTo>
                  <a:pt x="410" y="1638"/>
                </a:lnTo>
                <a:lnTo>
                  <a:pt x="405" y="1654"/>
                </a:lnTo>
                <a:lnTo>
                  <a:pt x="411" y="1659"/>
                </a:lnTo>
                <a:lnTo>
                  <a:pt x="410" y="1659"/>
                </a:lnTo>
                <a:lnTo>
                  <a:pt x="434" y="1640"/>
                </a:lnTo>
                <a:lnTo>
                  <a:pt x="451" y="1632"/>
                </a:lnTo>
                <a:lnTo>
                  <a:pt x="468" y="1627"/>
                </a:lnTo>
                <a:lnTo>
                  <a:pt x="482" y="1628"/>
                </a:lnTo>
                <a:lnTo>
                  <a:pt x="497" y="1629"/>
                </a:lnTo>
                <a:lnTo>
                  <a:pt x="524" y="1631"/>
                </a:lnTo>
                <a:lnTo>
                  <a:pt x="536" y="1631"/>
                </a:lnTo>
                <a:lnTo>
                  <a:pt x="554" y="1631"/>
                </a:lnTo>
                <a:lnTo>
                  <a:pt x="554" y="1631"/>
                </a:lnTo>
                <a:lnTo>
                  <a:pt x="554" y="1631"/>
                </a:lnTo>
                <a:lnTo>
                  <a:pt x="573" y="1629"/>
                </a:lnTo>
                <a:lnTo>
                  <a:pt x="603" y="1619"/>
                </a:lnTo>
                <a:lnTo>
                  <a:pt x="629" y="1606"/>
                </a:lnTo>
                <a:lnTo>
                  <a:pt x="655" y="1593"/>
                </a:lnTo>
                <a:lnTo>
                  <a:pt x="666" y="1587"/>
                </a:lnTo>
                <a:lnTo>
                  <a:pt x="683" y="1577"/>
                </a:lnTo>
                <a:lnTo>
                  <a:pt x="702" y="1566"/>
                </a:lnTo>
                <a:lnTo>
                  <a:pt x="714" y="1563"/>
                </a:lnTo>
                <a:lnTo>
                  <a:pt x="740" y="1561"/>
                </a:lnTo>
                <a:lnTo>
                  <a:pt x="750" y="1558"/>
                </a:lnTo>
                <a:lnTo>
                  <a:pt x="757" y="1550"/>
                </a:lnTo>
                <a:lnTo>
                  <a:pt x="769" y="1548"/>
                </a:lnTo>
                <a:lnTo>
                  <a:pt x="774" y="1553"/>
                </a:lnTo>
                <a:lnTo>
                  <a:pt x="767" y="1579"/>
                </a:lnTo>
                <a:lnTo>
                  <a:pt x="774" y="1586"/>
                </a:lnTo>
                <a:lnTo>
                  <a:pt x="787" y="1585"/>
                </a:lnTo>
                <a:lnTo>
                  <a:pt x="798" y="1589"/>
                </a:lnTo>
                <a:lnTo>
                  <a:pt x="828" y="1592"/>
                </a:lnTo>
                <a:lnTo>
                  <a:pt x="853" y="1603"/>
                </a:lnTo>
                <a:lnTo>
                  <a:pt x="871" y="1615"/>
                </a:lnTo>
                <a:lnTo>
                  <a:pt x="883" y="1620"/>
                </a:lnTo>
                <a:lnTo>
                  <a:pt x="886" y="1630"/>
                </a:lnTo>
                <a:lnTo>
                  <a:pt x="900" y="1620"/>
                </a:lnTo>
                <a:lnTo>
                  <a:pt x="914" y="1631"/>
                </a:lnTo>
                <a:lnTo>
                  <a:pt x="917" y="1636"/>
                </a:lnTo>
                <a:lnTo>
                  <a:pt x="920" y="1651"/>
                </a:lnTo>
                <a:lnTo>
                  <a:pt x="919" y="1686"/>
                </a:lnTo>
                <a:lnTo>
                  <a:pt x="914" y="1700"/>
                </a:lnTo>
                <a:lnTo>
                  <a:pt x="906" y="1713"/>
                </a:lnTo>
                <a:lnTo>
                  <a:pt x="896" y="1727"/>
                </a:lnTo>
                <a:lnTo>
                  <a:pt x="883" y="1742"/>
                </a:lnTo>
                <a:lnTo>
                  <a:pt x="870" y="1757"/>
                </a:lnTo>
                <a:lnTo>
                  <a:pt x="859" y="1769"/>
                </a:lnTo>
                <a:lnTo>
                  <a:pt x="849" y="1773"/>
                </a:lnTo>
                <a:lnTo>
                  <a:pt x="837" y="1778"/>
                </a:lnTo>
                <a:lnTo>
                  <a:pt x="834" y="1783"/>
                </a:lnTo>
                <a:lnTo>
                  <a:pt x="837" y="1791"/>
                </a:lnTo>
                <a:lnTo>
                  <a:pt x="848" y="1798"/>
                </a:lnTo>
                <a:lnTo>
                  <a:pt x="856" y="1805"/>
                </a:lnTo>
                <a:lnTo>
                  <a:pt x="866" y="1811"/>
                </a:lnTo>
                <a:lnTo>
                  <a:pt x="876" y="1821"/>
                </a:lnTo>
                <a:lnTo>
                  <a:pt x="861" y="1829"/>
                </a:lnTo>
                <a:lnTo>
                  <a:pt x="856" y="1833"/>
                </a:lnTo>
                <a:lnTo>
                  <a:pt x="850" y="1841"/>
                </a:lnTo>
                <a:lnTo>
                  <a:pt x="849" y="1847"/>
                </a:lnTo>
                <a:lnTo>
                  <a:pt x="850" y="1856"/>
                </a:lnTo>
                <a:lnTo>
                  <a:pt x="864" y="1848"/>
                </a:lnTo>
                <a:lnTo>
                  <a:pt x="871" y="1843"/>
                </a:lnTo>
                <a:lnTo>
                  <a:pt x="885" y="1839"/>
                </a:lnTo>
                <a:lnTo>
                  <a:pt x="901" y="1835"/>
                </a:lnTo>
                <a:lnTo>
                  <a:pt x="912" y="1835"/>
                </a:lnTo>
                <a:lnTo>
                  <a:pt x="919" y="1847"/>
                </a:lnTo>
                <a:lnTo>
                  <a:pt x="924" y="1857"/>
                </a:lnTo>
                <a:lnTo>
                  <a:pt x="937" y="1859"/>
                </a:lnTo>
                <a:lnTo>
                  <a:pt x="947" y="1864"/>
                </a:lnTo>
                <a:lnTo>
                  <a:pt x="942" y="1877"/>
                </a:lnTo>
                <a:lnTo>
                  <a:pt x="943" y="1884"/>
                </a:lnTo>
                <a:lnTo>
                  <a:pt x="951" y="1884"/>
                </a:lnTo>
                <a:lnTo>
                  <a:pt x="961" y="1880"/>
                </a:lnTo>
                <a:lnTo>
                  <a:pt x="963" y="1886"/>
                </a:lnTo>
                <a:lnTo>
                  <a:pt x="961" y="1896"/>
                </a:lnTo>
                <a:lnTo>
                  <a:pt x="957" y="1908"/>
                </a:lnTo>
                <a:lnTo>
                  <a:pt x="955" y="1914"/>
                </a:lnTo>
                <a:lnTo>
                  <a:pt x="957" y="1922"/>
                </a:lnTo>
                <a:lnTo>
                  <a:pt x="972" y="1932"/>
                </a:lnTo>
                <a:lnTo>
                  <a:pt x="985" y="1935"/>
                </a:lnTo>
                <a:lnTo>
                  <a:pt x="1000" y="1938"/>
                </a:lnTo>
                <a:lnTo>
                  <a:pt x="1016" y="1941"/>
                </a:lnTo>
                <a:lnTo>
                  <a:pt x="1025" y="1949"/>
                </a:lnTo>
                <a:lnTo>
                  <a:pt x="1028" y="1963"/>
                </a:lnTo>
                <a:lnTo>
                  <a:pt x="1028" y="1962"/>
                </a:lnTo>
                <a:lnTo>
                  <a:pt x="1028" y="1963"/>
                </a:lnTo>
                <a:lnTo>
                  <a:pt x="1039" y="1960"/>
                </a:lnTo>
                <a:lnTo>
                  <a:pt x="1050" y="1959"/>
                </a:lnTo>
                <a:lnTo>
                  <a:pt x="1057" y="1960"/>
                </a:lnTo>
                <a:lnTo>
                  <a:pt x="1071" y="1960"/>
                </a:lnTo>
                <a:lnTo>
                  <a:pt x="1083" y="1954"/>
                </a:lnTo>
                <a:lnTo>
                  <a:pt x="1090" y="1938"/>
                </a:lnTo>
                <a:lnTo>
                  <a:pt x="1086" y="1922"/>
                </a:lnTo>
                <a:lnTo>
                  <a:pt x="1078" y="1911"/>
                </a:lnTo>
                <a:lnTo>
                  <a:pt x="1074" y="1896"/>
                </a:lnTo>
                <a:lnTo>
                  <a:pt x="1086" y="1892"/>
                </a:lnTo>
                <a:lnTo>
                  <a:pt x="1101" y="1894"/>
                </a:lnTo>
                <a:lnTo>
                  <a:pt x="1110" y="1887"/>
                </a:lnTo>
                <a:lnTo>
                  <a:pt x="1119" y="1883"/>
                </a:lnTo>
                <a:lnTo>
                  <a:pt x="1130" y="1882"/>
                </a:lnTo>
                <a:lnTo>
                  <a:pt x="1144" y="1888"/>
                </a:lnTo>
                <a:lnTo>
                  <a:pt x="1162" y="1876"/>
                </a:lnTo>
                <a:lnTo>
                  <a:pt x="1173" y="1869"/>
                </a:lnTo>
                <a:lnTo>
                  <a:pt x="1179" y="1874"/>
                </a:lnTo>
                <a:lnTo>
                  <a:pt x="1186" y="1880"/>
                </a:lnTo>
                <a:lnTo>
                  <a:pt x="1203" y="1874"/>
                </a:lnTo>
                <a:lnTo>
                  <a:pt x="1217" y="1867"/>
                </a:lnTo>
                <a:lnTo>
                  <a:pt x="1223" y="1866"/>
                </a:lnTo>
                <a:lnTo>
                  <a:pt x="1231" y="1863"/>
                </a:lnTo>
                <a:lnTo>
                  <a:pt x="1242" y="1851"/>
                </a:lnTo>
                <a:lnTo>
                  <a:pt x="1245" y="1839"/>
                </a:lnTo>
                <a:lnTo>
                  <a:pt x="1247" y="1824"/>
                </a:lnTo>
                <a:lnTo>
                  <a:pt x="1259" y="1813"/>
                </a:lnTo>
                <a:lnTo>
                  <a:pt x="1274" y="1808"/>
                </a:lnTo>
                <a:lnTo>
                  <a:pt x="1285" y="1813"/>
                </a:lnTo>
                <a:lnTo>
                  <a:pt x="1288" y="1824"/>
                </a:lnTo>
                <a:lnTo>
                  <a:pt x="1292" y="1835"/>
                </a:lnTo>
                <a:lnTo>
                  <a:pt x="1300" y="1838"/>
                </a:lnTo>
                <a:lnTo>
                  <a:pt x="1327" y="1833"/>
                </a:lnTo>
                <a:lnTo>
                  <a:pt x="1332" y="1835"/>
                </a:lnTo>
                <a:lnTo>
                  <a:pt x="1335" y="1838"/>
                </a:lnTo>
                <a:lnTo>
                  <a:pt x="1335" y="1845"/>
                </a:lnTo>
                <a:lnTo>
                  <a:pt x="1331" y="1852"/>
                </a:lnTo>
                <a:lnTo>
                  <a:pt x="1316" y="1867"/>
                </a:lnTo>
                <a:lnTo>
                  <a:pt x="1325" y="1874"/>
                </a:lnTo>
                <a:lnTo>
                  <a:pt x="1346" y="1880"/>
                </a:lnTo>
                <a:lnTo>
                  <a:pt x="1357" y="1884"/>
                </a:lnTo>
                <a:lnTo>
                  <a:pt x="1374" y="1892"/>
                </a:lnTo>
                <a:lnTo>
                  <a:pt x="1384" y="1899"/>
                </a:lnTo>
                <a:lnTo>
                  <a:pt x="1388" y="1908"/>
                </a:lnTo>
                <a:lnTo>
                  <a:pt x="1397" y="1905"/>
                </a:lnTo>
                <a:lnTo>
                  <a:pt x="1412" y="1901"/>
                </a:lnTo>
                <a:lnTo>
                  <a:pt x="1433" y="1890"/>
                </a:lnTo>
                <a:lnTo>
                  <a:pt x="1444" y="1888"/>
                </a:lnTo>
                <a:lnTo>
                  <a:pt x="1460" y="1892"/>
                </a:lnTo>
                <a:lnTo>
                  <a:pt x="1471" y="1892"/>
                </a:lnTo>
                <a:lnTo>
                  <a:pt x="1484" y="1882"/>
                </a:lnTo>
                <a:lnTo>
                  <a:pt x="1488" y="1882"/>
                </a:lnTo>
                <a:lnTo>
                  <a:pt x="1496" y="1890"/>
                </a:lnTo>
                <a:lnTo>
                  <a:pt x="1496" y="1913"/>
                </a:lnTo>
                <a:lnTo>
                  <a:pt x="1500" y="1923"/>
                </a:lnTo>
                <a:lnTo>
                  <a:pt x="1509" y="1934"/>
                </a:lnTo>
                <a:lnTo>
                  <a:pt x="1515" y="1947"/>
                </a:lnTo>
                <a:lnTo>
                  <a:pt x="1517" y="1949"/>
                </a:lnTo>
                <a:lnTo>
                  <a:pt x="1535" y="1949"/>
                </a:lnTo>
                <a:lnTo>
                  <a:pt x="1539" y="1949"/>
                </a:lnTo>
                <a:lnTo>
                  <a:pt x="1539" y="1947"/>
                </a:lnTo>
                <a:lnTo>
                  <a:pt x="1544" y="1937"/>
                </a:lnTo>
                <a:lnTo>
                  <a:pt x="1544" y="1923"/>
                </a:lnTo>
                <a:lnTo>
                  <a:pt x="1531" y="1913"/>
                </a:lnTo>
                <a:lnTo>
                  <a:pt x="1525" y="1908"/>
                </a:lnTo>
                <a:lnTo>
                  <a:pt x="1533" y="1901"/>
                </a:lnTo>
                <a:lnTo>
                  <a:pt x="1535" y="1888"/>
                </a:lnTo>
                <a:lnTo>
                  <a:pt x="1547" y="1884"/>
                </a:lnTo>
                <a:lnTo>
                  <a:pt x="1557" y="1880"/>
                </a:lnTo>
                <a:lnTo>
                  <a:pt x="1584" y="1864"/>
                </a:lnTo>
                <a:lnTo>
                  <a:pt x="1600" y="1862"/>
                </a:lnTo>
                <a:lnTo>
                  <a:pt x="1612" y="1854"/>
                </a:lnTo>
                <a:lnTo>
                  <a:pt x="1614" y="1851"/>
                </a:lnTo>
                <a:lnTo>
                  <a:pt x="1625" y="1845"/>
                </a:lnTo>
                <a:lnTo>
                  <a:pt x="1636" y="1838"/>
                </a:lnTo>
                <a:lnTo>
                  <a:pt x="1649" y="1832"/>
                </a:lnTo>
                <a:lnTo>
                  <a:pt x="1657" y="1823"/>
                </a:lnTo>
                <a:lnTo>
                  <a:pt x="1660" y="1809"/>
                </a:lnTo>
                <a:lnTo>
                  <a:pt x="1666" y="1804"/>
                </a:lnTo>
                <a:lnTo>
                  <a:pt x="1688" y="1801"/>
                </a:lnTo>
                <a:lnTo>
                  <a:pt x="1695" y="1799"/>
                </a:lnTo>
                <a:lnTo>
                  <a:pt x="1689" y="1786"/>
                </a:lnTo>
                <a:lnTo>
                  <a:pt x="1686" y="1774"/>
                </a:lnTo>
                <a:lnTo>
                  <a:pt x="1685" y="1760"/>
                </a:lnTo>
                <a:lnTo>
                  <a:pt x="1688" y="1757"/>
                </a:lnTo>
                <a:lnTo>
                  <a:pt x="1690" y="1757"/>
                </a:lnTo>
                <a:lnTo>
                  <a:pt x="1698" y="1768"/>
                </a:lnTo>
                <a:lnTo>
                  <a:pt x="1703" y="1773"/>
                </a:lnTo>
                <a:lnTo>
                  <a:pt x="1702" y="1774"/>
                </a:lnTo>
                <a:lnTo>
                  <a:pt x="1727" y="1765"/>
                </a:lnTo>
                <a:lnTo>
                  <a:pt x="1736" y="1765"/>
                </a:lnTo>
                <a:lnTo>
                  <a:pt x="1735" y="1767"/>
                </a:lnTo>
                <a:lnTo>
                  <a:pt x="1741" y="1760"/>
                </a:lnTo>
                <a:lnTo>
                  <a:pt x="1753" y="1752"/>
                </a:lnTo>
                <a:lnTo>
                  <a:pt x="1764" y="1750"/>
                </a:lnTo>
                <a:lnTo>
                  <a:pt x="1786" y="1742"/>
                </a:lnTo>
                <a:lnTo>
                  <a:pt x="1809" y="1731"/>
                </a:lnTo>
                <a:lnTo>
                  <a:pt x="1821" y="1727"/>
                </a:lnTo>
                <a:lnTo>
                  <a:pt x="1829" y="1718"/>
                </a:lnTo>
                <a:lnTo>
                  <a:pt x="1834" y="1705"/>
                </a:lnTo>
                <a:lnTo>
                  <a:pt x="1838" y="1699"/>
                </a:lnTo>
                <a:lnTo>
                  <a:pt x="1839" y="1696"/>
                </a:lnTo>
                <a:lnTo>
                  <a:pt x="1852" y="1689"/>
                </a:lnTo>
                <a:lnTo>
                  <a:pt x="1860" y="1680"/>
                </a:lnTo>
                <a:lnTo>
                  <a:pt x="1863" y="1670"/>
                </a:lnTo>
                <a:lnTo>
                  <a:pt x="1866" y="1667"/>
                </a:lnTo>
                <a:lnTo>
                  <a:pt x="1877" y="1659"/>
                </a:lnTo>
                <a:lnTo>
                  <a:pt x="1888" y="1656"/>
                </a:lnTo>
                <a:lnTo>
                  <a:pt x="1890" y="1653"/>
                </a:lnTo>
                <a:lnTo>
                  <a:pt x="1885" y="1630"/>
                </a:lnTo>
                <a:lnTo>
                  <a:pt x="1893" y="1620"/>
                </a:lnTo>
                <a:lnTo>
                  <a:pt x="1901" y="1606"/>
                </a:lnTo>
                <a:lnTo>
                  <a:pt x="1912" y="1589"/>
                </a:lnTo>
                <a:lnTo>
                  <a:pt x="1920" y="1581"/>
                </a:lnTo>
                <a:lnTo>
                  <a:pt x="1934" y="1566"/>
                </a:lnTo>
                <a:lnTo>
                  <a:pt x="1938" y="1550"/>
                </a:lnTo>
                <a:lnTo>
                  <a:pt x="1944" y="1542"/>
                </a:lnTo>
                <a:lnTo>
                  <a:pt x="1947" y="1530"/>
                </a:lnTo>
                <a:lnTo>
                  <a:pt x="1950" y="1513"/>
                </a:lnTo>
                <a:lnTo>
                  <a:pt x="1947" y="1500"/>
                </a:lnTo>
                <a:lnTo>
                  <a:pt x="1938" y="1492"/>
                </a:lnTo>
                <a:lnTo>
                  <a:pt x="1938" y="1477"/>
                </a:lnTo>
                <a:lnTo>
                  <a:pt x="1947" y="1477"/>
                </a:lnTo>
                <a:lnTo>
                  <a:pt x="1952" y="1479"/>
                </a:lnTo>
                <a:lnTo>
                  <a:pt x="1959" y="1477"/>
                </a:lnTo>
                <a:lnTo>
                  <a:pt x="1955" y="1461"/>
                </a:lnTo>
                <a:lnTo>
                  <a:pt x="1955" y="1448"/>
                </a:lnTo>
                <a:lnTo>
                  <a:pt x="1968" y="1443"/>
                </a:lnTo>
                <a:lnTo>
                  <a:pt x="1968" y="1421"/>
                </a:lnTo>
                <a:lnTo>
                  <a:pt x="1960" y="1412"/>
                </a:lnTo>
                <a:lnTo>
                  <a:pt x="1959" y="1409"/>
                </a:lnTo>
                <a:lnTo>
                  <a:pt x="1959" y="1401"/>
                </a:lnTo>
                <a:lnTo>
                  <a:pt x="1966" y="1391"/>
                </a:lnTo>
                <a:lnTo>
                  <a:pt x="1977" y="1378"/>
                </a:lnTo>
                <a:lnTo>
                  <a:pt x="1987" y="1368"/>
                </a:lnTo>
                <a:lnTo>
                  <a:pt x="1991" y="1362"/>
                </a:lnTo>
                <a:lnTo>
                  <a:pt x="1991" y="1346"/>
                </a:lnTo>
                <a:lnTo>
                  <a:pt x="1987" y="1336"/>
                </a:lnTo>
                <a:lnTo>
                  <a:pt x="1982" y="1318"/>
                </a:lnTo>
                <a:lnTo>
                  <a:pt x="1987" y="1313"/>
                </a:lnTo>
                <a:lnTo>
                  <a:pt x="1998" y="1310"/>
                </a:lnTo>
                <a:lnTo>
                  <a:pt x="2004" y="1307"/>
                </a:lnTo>
                <a:lnTo>
                  <a:pt x="1998" y="1298"/>
                </a:lnTo>
                <a:lnTo>
                  <a:pt x="1991" y="1292"/>
                </a:lnTo>
                <a:lnTo>
                  <a:pt x="1979" y="1294"/>
                </a:lnTo>
                <a:lnTo>
                  <a:pt x="1977" y="1294"/>
                </a:lnTo>
                <a:lnTo>
                  <a:pt x="1974" y="1292"/>
                </a:lnTo>
                <a:lnTo>
                  <a:pt x="1982" y="1287"/>
                </a:lnTo>
                <a:lnTo>
                  <a:pt x="1995" y="1279"/>
                </a:lnTo>
                <a:lnTo>
                  <a:pt x="1998" y="1277"/>
                </a:lnTo>
                <a:lnTo>
                  <a:pt x="1998" y="1275"/>
                </a:lnTo>
                <a:lnTo>
                  <a:pt x="1995" y="1266"/>
                </a:lnTo>
                <a:lnTo>
                  <a:pt x="1987" y="1264"/>
                </a:lnTo>
                <a:lnTo>
                  <a:pt x="1985" y="1264"/>
                </a:lnTo>
                <a:lnTo>
                  <a:pt x="1969" y="1268"/>
                </a:lnTo>
                <a:lnTo>
                  <a:pt x="1960" y="1263"/>
                </a:lnTo>
                <a:lnTo>
                  <a:pt x="1948" y="1268"/>
                </a:lnTo>
                <a:lnTo>
                  <a:pt x="1933" y="1271"/>
                </a:lnTo>
                <a:lnTo>
                  <a:pt x="1915" y="1273"/>
                </a:lnTo>
                <a:lnTo>
                  <a:pt x="1921" y="1268"/>
                </a:lnTo>
                <a:lnTo>
                  <a:pt x="1926" y="1264"/>
                </a:lnTo>
                <a:lnTo>
                  <a:pt x="1938" y="1259"/>
                </a:lnTo>
                <a:lnTo>
                  <a:pt x="1947" y="1258"/>
                </a:lnTo>
                <a:lnTo>
                  <a:pt x="1947" y="1235"/>
                </a:lnTo>
                <a:lnTo>
                  <a:pt x="1952" y="1224"/>
                </a:lnTo>
                <a:lnTo>
                  <a:pt x="1966" y="1211"/>
                </a:lnTo>
                <a:lnTo>
                  <a:pt x="1966" y="1201"/>
                </a:lnTo>
                <a:lnTo>
                  <a:pt x="1963" y="1199"/>
                </a:lnTo>
                <a:lnTo>
                  <a:pt x="1952" y="1191"/>
                </a:lnTo>
                <a:lnTo>
                  <a:pt x="1931" y="1188"/>
                </a:lnTo>
                <a:lnTo>
                  <a:pt x="1909" y="1180"/>
                </a:lnTo>
                <a:lnTo>
                  <a:pt x="1898" y="1180"/>
                </a:lnTo>
                <a:lnTo>
                  <a:pt x="1893" y="1175"/>
                </a:lnTo>
                <a:lnTo>
                  <a:pt x="1898" y="1170"/>
                </a:lnTo>
                <a:lnTo>
                  <a:pt x="1912" y="1173"/>
                </a:lnTo>
                <a:lnTo>
                  <a:pt x="1920" y="1173"/>
                </a:lnTo>
                <a:lnTo>
                  <a:pt x="1934" y="1167"/>
                </a:lnTo>
                <a:lnTo>
                  <a:pt x="1942" y="1159"/>
                </a:lnTo>
                <a:lnTo>
                  <a:pt x="1928" y="1149"/>
                </a:lnTo>
                <a:lnTo>
                  <a:pt x="1906" y="1134"/>
                </a:lnTo>
                <a:lnTo>
                  <a:pt x="1893" y="1134"/>
                </a:lnTo>
                <a:lnTo>
                  <a:pt x="1877" y="1119"/>
                </a:lnTo>
                <a:lnTo>
                  <a:pt x="1866" y="1115"/>
                </a:lnTo>
                <a:lnTo>
                  <a:pt x="1855" y="1095"/>
                </a:lnTo>
                <a:lnTo>
                  <a:pt x="1842" y="1084"/>
                </a:lnTo>
                <a:lnTo>
                  <a:pt x="1826" y="1084"/>
                </a:lnTo>
                <a:lnTo>
                  <a:pt x="1823" y="1081"/>
                </a:lnTo>
                <a:lnTo>
                  <a:pt x="1823" y="1068"/>
                </a:lnTo>
                <a:lnTo>
                  <a:pt x="1817" y="1063"/>
                </a:lnTo>
                <a:lnTo>
                  <a:pt x="1801" y="1063"/>
                </a:lnTo>
                <a:lnTo>
                  <a:pt x="1790" y="1055"/>
                </a:lnTo>
                <a:lnTo>
                  <a:pt x="1784" y="1050"/>
                </a:lnTo>
                <a:lnTo>
                  <a:pt x="1782" y="1037"/>
                </a:lnTo>
                <a:lnTo>
                  <a:pt x="1784" y="1021"/>
                </a:lnTo>
                <a:lnTo>
                  <a:pt x="1787" y="1008"/>
                </a:lnTo>
                <a:lnTo>
                  <a:pt x="1795" y="999"/>
                </a:lnTo>
                <a:lnTo>
                  <a:pt x="1799" y="988"/>
                </a:lnTo>
                <a:lnTo>
                  <a:pt x="1799" y="962"/>
                </a:lnTo>
                <a:lnTo>
                  <a:pt x="1817" y="962"/>
                </a:lnTo>
                <a:lnTo>
                  <a:pt x="1820" y="952"/>
                </a:lnTo>
                <a:lnTo>
                  <a:pt x="1817" y="938"/>
                </a:lnTo>
                <a:lnTo>
                  <a:pt x="1828" y="917"/>
                </a:lnTo>
                <a:lnTo>
                  <a:pt x="1842" y="909"/>
                </a:lnTo>
                <a:lnTo>
                  <a:pt x="1860" y="909"/>
                </a:lnTo>
                <a:lnTo>
                  <a:pt x="1860" y="899"/>
                </a:lnTo>
                <a:lnTo>
                  <a:pt x="1866" y="894"/>
                </a:lnTo>
                <a:lnTo>
                  <a:pt x="1879" y="891"/>
                </a:lnTo>
                <a:lnTo>
                  <a:pt x="1885" y="887"/>
                </a:lnTo>
                <a:lnTo>
                  <a:pt x="1885" y="863"/>
                </a:lnTo>
                <a:lnTo>
                  <a:pt x="1882" y="860"/>
                </a:lnTo>
                <a:lnTo>
                  <a:pt x="1842" y="860"/>
                </a:lnTo>
                <a:lnTo>
                  <a:pt x="1831" y="866"/>
                </a:lnTo>
                <a:lnTo>
                  <a:pt x="1782" y="871"/>
                </a:lnTo>
                <a:lnTo>
                  <a:pt x="1768" y="887"/>
                </a:lnTo>
                <a:lnTo>
                  <a:pt x="1760" y="897"/>
                </a:lnTo>
                <a:lnTo>
                  <a:pt x="1760" y="908"/>
                </a:lnTo>
                <a:lnTo>
                  <a:pt x="1747" y="917"/>
                </a:lnTo>
                <a:lnTo>
                  <a:pt x="1735" y="923"/>
                </a:lnTo>
                <a:lnTo>
                  <a:pt x="1726" y="923"/>
                </a:lnTo>
                <a:lnTo>
                  <a:pt x="1715" y="909"/>
                </a:lnTo>
                <a:lnTo>
                  <a:pt x="1706" y="899"/>
                </a:lnTo>
                <a:lnTo>
                  <a:pt x="1701" y="894"/>
                </a:lnTo>
                <a:lnTo>
                  <a:pt x="1690" y="890"/>
                </a:lnTo>
                <a:lnTo>
                  <a:pt x="1668" y="883"/>
                </a:lnTo>
                <a:lnTo>
                  <a:pt x="1657" y="876"/>
                </a:lnTo>
                <a:lnTo>
                  <a:pt x="1647" y="873"/>
                </a:lnTo>
                <a:lnTo>
                  <a:pt x="1641" y="868"/>
                </a:lnTo>
                <a:lnTo>
                  <a:pt x="1644" y="845"/>
                </a:lnTo>
                <a:lnTo>
                  <a:pt x="1655" y="838"/>
                </a:lnTo>
                <a:lnTo>
                  <a:pt x="1668" y="827"/>
                </a:lnTo>
                <a:lnTo>
                  <a:pt x="1679" y="824"/>
                </a:lnTo>
                <a:lnTo>
                  <a:pt x="1690" y="816"/>
                </a:lnTo>
                <a:lnTo>
                  <a:pt x="1698" y="806"/>
                </a:lnTo>
                <a:lnTo>
                  <a:pt x="1701" y="781"/>
                </a:lnTo>
                <a:lnTo>
                  <a:pt x="1704" y="767"/>
                </a:lnTo>
                <a:lnTo>
                  <a:pt x="1712" y="756"/>
                </a:lnTo>
                <a:lnTo>
                  <a:pt x="1717" y="746"/>
                </a:lnTo>
                <a:lnTo>
                  <a:pt x="1719" y="736"/>
                </a:lnTo>
                <a:lnTo>
                  <a:pt x="1728" y="723"/>
                </a:lnTo>
                <a:lnTo>
                  <a:pt x="1735" y="712"/>
                </a:lnTo>
                <a:lnTo>
                  <a:pt x="1735" y="698"/>
                </a:lnTo>
                <a:lnTo>
                  <a:pt x="1752" y="686"/>
                </a:lnTo>
                <a:lnTo>
                  <a:pt x="1790" y="694"/>
                </a:lnTo>
                <a:lnTo>
                  <a:pt x="1799" y="704"/>
                </a:lnTo>
                <a:lnTo>
                  <a:pt x="1795" y="720"/>
                </a:lnTo>
                <a:lnTo>
                  <a:pt x="1784" y="740"/>
                </a:lnTo>
                <a:lnTo>
                  <a:pt x="1782" y="762"/>
                </a:lnTo>
                <a:lnTo>
                  <a:pt x="1784" y="778"/>
                </a:lnTo>
                <a:lnTo>
                  <a:pt x="1795" y="781"/>
                </a:lnTo>
                <a:lnTo>
                  <a:pt x="1799" y="782"/>
                </a:lnTo>
                <a:lnTo>
                  <a:pt x="1799" y="788"/>
                </a:lnTo>
                <a:lnTo>
                  <a:pt x="1790" y="800"/>
                </a:lnTo>
                <a:lnTo>
                  <a:pt x="1790" y="811"/>
                </a:lnTo>
                <a:lnTo>
                  <a:pt x="1801" y="811"/>
                </a:lnTo>
                <a:lnTo>
                  <a:pt x="1811" y="806"/>
                </a:lnTo>
                <a:lnTo>
                  <a:pt x="1817" y="800"/>
                </a:lnTo>
                <a:lnTo>
                  <a:pt x="1820" y="785"/>
                </a:lnTo>
                <a:lnTo>
                  <a:pt x="1826" y="774"/>
                </a:lnTo>
                <a:lnTo>
                  <a:pt x="1839" y="762"/>
                </a:lnTo>
                <a:lnTo>
                  <a:pt x="1855" y="740"/>
                </a:lnTo>
                <a:lnTo>
                  <a:pt x="1870" y="731"/>
                </a:lnTo>
                <a:lnTo>
                  <a:pt x="1888" y="723"/>
                </a:lnTo>
                <a:lnTo>
                  <a:pt x="1901" y="714"/>
                </a:lnTo>
                <a:lnTo>
                  <a:pt x="1902" y="714"/>
                </a:lnTo>
                <a:lnTo>
                  <a:pt x="1904" y="690"/>
                </a:lnTo>
                <a:lnTo>
                  <a:pt x="1909" y="676"/>
                </a:lnTo>
                <a:lnTo>
                  <a:pt x="1915" y="664"/>
                </a:lnTo>
                <a:lnTo>
                  <a:pt x="1919" y="648"/>
                </a:lnTo>
                <a:lnTo>
                  <a:pt x="1921" y="635"/>
                </a:lnTo>
                <a:lnTo>
                  <a:pt x="1927" y="624"/>
                </a:lnTo>
                <a:lnTo>
                  <a:pt x="1935" y="618"/>
                </a:lnTo>
                <a:lnTo>
                  <a:pt x="1951" y="615"/>
                </a:lnTo>
                <a:lnTo>
                  <a:pt x="1964" y="614"/>
                </a:lnTo>
                <a:lnTo>
                  <a:pt x="1979" y="611"/>
                </a:lnTo>
                <a:lnTo>
                  <a:pt x="1989" y="607"/>
                </a:lnTo>
                <a:lnTo>
                  <a:pt x="1986" y="599"/>
                </a:lnTo>
                <a:lnTo>
                  <a:pt x="1980" y="589"/>
                </a:lnTo>
                <a:lnTo>
                  <a:pt x="1971" y="585"/>
                </a:lnTo>
                <a:lnTo>
                  <a:pt x="1987" y="574"/>
                </a:lnTo>
                <a:lnTo>
                  <a:pt x="2000" y="559"/>
                </a:lnTo>
                <a:lnTo>
                  <a:pt x="2009" y="539"/>
                </a:lnTo>
                <a:lnTo>
                  <a:pt x="2007" y="524"/>
                </a:lnTo>
                <a:lnTo>
                  <a:pt x="2005" y="511"/>
                </a:lnTo>
                <a:lnTo>
                  <a:pt x="2009" y="495"/>
                </a:lnTo>
                <a:lnTo>
                  <a:pt x="2020" y="470"/>
                </a:lnTo>
                <a:lnTo>
                  <a:pt x="2031" y="454"/>
                </a:lnTo>
                <a:lnTo>
                  <a:pt x="2044" y="437"/>
                </a:lnTo>
                <a:lnTo>
                  <a:pt x="2051" y="426"/>
                </a:lnTo>
                <a:lnTo>
                  <a:pt x="2056" y="413"/>
                </a:lnTo>
                <a:lnTo>
                  <a:pt x="2060" y="391"/>
                </a:lnTo>
                <a:lnTo>
                  <a:pt x="2063" y="369"/>
                </a:lnTo>
                <a:lnTo>
                  <a:pt x="2060" y="369"/>
                </a:lnTo>
                <a:lnTo>
                  <a:pt x="2048" y="353"/>
                </a:lnTo>
                <a:lnTo>
                  <a:pt x="2042" y="343"/>
                </a:lnTo>
                <a:lnTo>
                  <a:pt x="2039" y="329"/>
                </a:lnTo>
                <a:lnTo>
                  <a:pt x="2042" y="314"/>
                </a:lnTo>
                <a:lnTo>
                  <a:pt x="2053" y="307"/>
                </a:lnTo>
                <a:lnTo>
                  <a:pt x="2063" y="301"/>
                </a:lnTo>
                <a:lnTo>
                  <a:pt x="2082" y="283"/>
                </a:lnTo>
                <a:lnTo>
                  <a:pt x="2093" y="275"/>
                </a:lnTo>
                <a:lnTo>
                  <a:pt x="2099" y="265"/>
                </a:lnTo>
                <a:lnTo>
                  <a:pt x="2101" y="253"/>
                </a:lnTo>
                <a:lnTo>
                  <a:pt x="2099" y="239"/>
                </a:lnTo>
                <a:lnTo>
                  <a:pt x="2099" y="226"/>
                </a:lnTo>
                <a:lnTo>
                  <a:pt x="2093" y="216"/>
                </a:lnTo>
                <a:lnTo>
                  <a:pt x="2091" y="203"/>
                </a:lnTo>
                <a:lnTo>
                  <a:pt x="2073" y="188"/>
                </a:lnTo>
                <a:lnTo>
                  <a:pt x="2069" y="172"/>
                </a:lnTo>
                <a:lnTo>
                  <a:pt x="2063" y="161"/>
                </a:lnTo>
                <a:lnTo>
                  <a:pt x="2066" y="151"/>
                </a:lnTo>
                <a:lnTo>
                  <a:pt x="2069" y="136"/>
                </a:lnTo>
                <a:lnTo>
                  <a:pt x="2066" y="122"/>
                </a:lnTo>
                <a:lnTo>
                  <a:pt x="2066" y="111"/>
                </a:lnTo>
                <a:lnTo>
                  <a:pt x="2057" y="93"/>
                </a:lnTo>
                <a:lnTo>
                  <a:pt x="2039" y="75"/>
                </a:lnTo>
                <a:lnTo>
                  <a:pt x="2028" y="86"/>
                </a:lnTo>
                <a:lnTo>
                  <a:pt x="2017" y="93"/>
                </a:lnTo>
                <a:lnTo>
                  <a:pt x="1977" y="133"/>
                </a:lnTo>
                <a:lnTo>
                  <a:pt x="1971" y="144"/>
                </a:lnTo>
                <a:lnTo>
                  <a:pt x="1955" y="159"/>
                </a:lnTo>
                <a:lnTo>
                  <a:pt x="1920" y="151"/>
                </a:lnTo>
                <a:lnTo>
                  <a:pt x="1909" y="141"/>
                </a:lnTo>
                <a:lnTo>
                  <a:pt x="1888" y="130"/>
                </a:lnTo>
                <a:lnTo>
                  <a:pt x="1874" y="125"/>
                </a:lnTo>
                <a:lnTo>
                  <a:pt x="1863" y="122"/>
                </a:lnTo>
                <a:lnTo>
                  <a:pt x="1828" y="122"/>
                </a:lnTo>
                <a:lnTo>
                  <a:pt x="1815" y="125"/>
                </a:lnTo>
                <a:lnTo>
                  <a:pt x="1799" y="127"/>
                </a:lnTo>
                <a:lnTo>
                  <a:pt x="1780" y="127"/>
                </a:lnTo>
                <a:lnTo>
                  <a:pt x="1768" y="122"/>
                </a:lnTo>
                <a:lnTo>
                  <a:pt x="1755" y="114"/>
                </a:lnTo>
                <a:lnTo>
                  <a:pt x="1745" y="106"/>
                </a:lnTo>
                <a:lnTo>
                  <a:pt x="1738" y="101"/>
                </a:lnTo>
                <a:lnTo>
                  <a:pt x="1728" y="88"/>
                </a:lnTo>
                <a:lnTo>
                  <a:pt x="1722" y="78"/>
                </a:lnTo>
                <a:lnTo>
                  <a:pt x="1715" y="64"/>
                </a:lnTo>
                <a:lnTo>
                  <a:pt x="1698" y="44"/>
                </a:lnTo>
                <a:lnTo>
                  <a:pt x="1682" y="31"/>
                </a:lnTo>
                <a:lnTo>
                  <a:pt x="1672" y="29"/>
                </a:lnTo>
                <a:lnTo>
                  <a:pt x="1649" y="13"/>
                </a:lnTo>
                <a:lnTo>
                  <a:pt x="1622" y="2"/>
                </a:lnTo>
                <a:lnTo>
                  <a:pt x="1612" y="2"/>
                </a:lnTo>
                <a:lnTo>
                  <a:pt x="1584" y="0"/>
                </a:lnTo>
                <a:lnTo>
                  <a:pt x="1574" y="0"/>
                </a:lnTo>
                <a:lnTo>
                  <a:pt x="1571" y="2"/>
                </a:lnTo>
                <a:lnTo>
                  <a:pt x="1560" y="2"/>
                </a:lnTo>
                <a:lnTo>
                  <a:pt x="1547" y="13"/>
                </a:lnTo>
                <a:lnTo>
                  <a:pt x="1531" y="18"/>
                </a:lnTo>
                <a:lnTo>
                  <a:pt x="1517" y="21"/>
                </a:lnTo>
                <a:lnTo>
                  <a:pt x="1507" y="26"/>
                </a:lnTo>
                <a:lnTo>
                  <a:pt x="1492" y="29"/>
                </a:lnTo>
                <a:lnTo>
                  <a:pt x="1479" y="36"/>
                </a:lnTo>
                <a:lnTo>
                  <a:pt x="1463" y="46"/>
                </a:lnTo>
                <a:lnTo>
                  <a:pt x="1451" y="52"/>
                </a:lnTo>
                <a:lnTo>
                  <a:pt x="1450" y="59"/>
                </a:lnTo>
                <a:lnTo>
                  <a:pt x="1451" y="70"/>
                </a:lnTo>
                <a:lnTo>
                  <a:pt x="1460" y="80"/>
                </a:lnTo>
                <a:lnTo>
                  <a:pt x="1471" y="91"/>
                </a:lnTo>
                <a:lnTo>
                  <a:pt x="1474" y="109"/>
                </a:lnTo>
                <a:lnTo>
                  <a:pt x="1471" y="119"/>
                </a:lnTo>
                <a:lnTo>
                  <a:pt x="1474" y="136"/>
                </a:lnTo>
                <a:lnTo>
                  <a:pt x="1477" y="156"/>
                </a:lnTo>
                <a:lnTo>
                  <a:pt x="1471" y="193"/>
                </a:lnTo>
                <a:lnTo>
                  <a:pt x="1474" y="218"/>
                </a:lnTo>
                <a:lnTo>
                  <a:pt x="1471" y="229"/>
                </a:lnTo>
                <a:lnTo>
                  <a:pt x="1460" y="249"/>
                </a:lnTo>
                <a:lnTo>
                  <a:pt x="1458" y="281"/>
                </a:lnTo>
                <a:lnTo>
                  <a:pt x="1446" y="294"/>
                </a:lnTo>
                <a:lnTo>
                  <a:pt x="1444" y="294"/>
                </a:lnTo>
                <a:lnTo>
                  <a:pt x="1433" y="292"/>
                </a:lnTo>
                <a:lnTo>
                  <a:pt x="1406" y="281"/>
                </a:lnTo>
                <a:lnTo>
                  <a:pt x="1408" y="283"/>
                </a:lnTo>
                <a:lnTo>
                  <a:pt x="1409" y="283"/>
                </a:lnTo>
                <a:lnTo>
                  <a:pt x="1403" y="330"/>
                </a:lnTo>
                <a:lnTo>
                  <a:pt x="1400" y="344"/>
                </a:lnTo>
                <a:lnTo>
                  <a:pt x="1394" y="358"/>
                </a:lnTo>
                <a:lnTo>
                  <a:pt x="1391" y="372"/>
                </a:lnTo>
                <a:lnTo>
                  <a:pt x="1391" y="385"/>
                </a:lnTo>
                <a:lnTo>
                  <a:pt x="1391" y="399"/>
                </a:lnTo>
                <a:lnTo>
                  <a:pt x="1394" y="413"/>
                </a:lnTo>
                <a:lnTo>
                  <a:pt x="1404" y="421"/>
                </a:lnTo>
                <a:lnTo>
                  <a:pt x="1417" y="426"/>
                </a:lnTo>
                <a:lnTo>
                  <a:pt x="1425" y="427"/>
                </a:lnTo>
                <a:lnTo>
                  <a:pt x="1431" y="426"/>
                </a:lnTo>
                <a:lnTo>
                  <a:pt x="1444" y="423"/>
                </a:lnTo>
                <a:lnTo>
                  <a:pt x="1460" y="413"/>
                </a:lnTo>
                <a:lnTo>
                  <a:pt x="1470" y="399"/>
                </a:lnTo>
                <a:lnTo>
                  <a:pt x="1479" y="388"/>
                </a:lnTo>
                <a:lnTo>
                  <a:pt x="1489" y="386"/>
                </a:lnTo>
                <a:lnTo>
                  <a:pt x="1507" y="395"/>
                </a:lnTo>
                <a:lnTo>
                  <a:pt x="1518" y="399"/>
                </a:lnTo>
                <a:lnTo>
                  <a:pt x="1535" y="409"/>
                </a:lnTo>
                <a:lnTo>
                  <a:pt x="1546" y="413"/>
                </a:lnTo>
                <a:lnTo>
                  <a:pt x="1560" y="429"/>
                </a:lnTo>
                <a:lnTo>
                  <a:pt x="1562" y="441"/>
                </a:lnTo>
                <a:lnTo>
                  <a:pt x="1559" y="454"/>
                </a:lnTo>
              </a:path>
            </a:pathLst>
          </a:custGeom>
          <a:noFill/>
          <a:ln w="12700" cap="rnd" cmpd="sng">
            <a:solidFill>
              <a:schemeClr val="tx2"/>
            </a:solidFill>
            <a:prstDash val="solid"/>
            <a:round/>
            <a:headEnd/>
            <a:tailEnd/>
          </a:ln>
          <a:extLst>
            <a:ext uri="{909E8E84-426E-40DD-AFC4-6F175D3DCCD1}">
              <a14:hiddenFill xmlns:a14="http://schemas.microsoft.com/office/drawing/2010/main">
                <a:solidFill>
                  <a:schemeClr val="accent1"/>
                </a:solidFill>
              </a14:hiddenFill>
            </a:ext>
          </a:extLst>
        </p:spPr>
        <p:txBody>
          <a:bodyPr/>
          <a:lstStyle/>
          <a:p>
            <a:pPr defTabSz="609539"/>
            <a:endParaRPr lang="en-US" sz="2399">
              <a:solidFill>
                <a:srgbClr val="000000"/>
              </a:solidFill>
            </a:endParaRPr>
          </a:p>
        </p:txBody>
      </p:sp>
      <p:grpSp>
        <p:nvGrpSpPr>
          <p:cNvPr id="208" name="Group 251">
            <a:extLst>
              <a:ext uri="{FF2B5EF4-FFF2-40B4-BE49-F238E27FC236}">
                <a16:creationId xmlns:a16="http://schemas.microsoft.com/office/drawing/2014/main" id="{5D77323F-EC78-4B1B-A53E-0DE85FB0C8CF}"/>
              </a:ext>
            </a:extLst>
          </p:cNvPr>
          <p:cNvGrpSpPr>
            <a:grpSpLocks/>
          </p:cNvGrpSpPr>
          <p:nvPr/>
        </p:nvGrpSpPr>
        <p:grpSpPr bwMode="auto">
          <a:xfrm>
            <a:off x="10051921" y="1954975"/>
            <a:ext cx="211132" cy="142871"/>
            <a:chOff x="3689" y="761"/>
            <a:chExt cx="175" cy="118"/>
          </a:xfrm>
        </p:grpSpPr>
        <p:sp>
          <p:nvSpPr>
            <p:cNvPr id="209" name="Freeform 252">
              <a:extLst>
                <a:ext uri="{FF2B5EF4-FFF2-40B4-BE49-F238E27FC236}">
                  <a16:creationId xmlns:a16="http://schemas.microsoft.com/office/drawing/2014/main" id="{D52E2138-0AD3-4059-A159-718A752F9F4B}"/>
                </a:ext>
              </a:extLst>
            </p:cNvPr>
            <p:cNvSpPr>
              <a:spLocks/>
            </p:cNvSpPr>
            <p:nvPr/>
          </p:nvSpPr>
          <p:spPr bwMode="auto">
            <a:xfrm>
              <a:off x="3689" y="761"/>
              <a:ext cx="175" cy="118"/>
            </a:xfrm>
            <a:custGeom>
              <a:avLst/>
              <a:gdLst>
                <a:gd name="T0" fmla="*/ 2042 w 2187"/>
                <a:gd name="T1" fmla="*/ 797 h 1474"/>
                <a:gd name="T2" fmla="*/ 1945 w 2187"/>
                <a:gd name="T3" fmla="*/ 894 h 1474"/>
                <a:gd name="T4" fmla="*/ 1945 w 2187"/>
                <a:gd name="T5" fmla="*/ 658 h 1474"/>
                <a:gd name="T6" fmla="*/ 2005 w 2187"/>
                <a:gd name="T7" fmla="*/ 543 h 1474"/>
                <a:gd name="T8" fmla="*/ 912 w 2187"/>
                <a:gd name="T9" fmla="*/ 543 h 1474"/>
                <a:gd name="T10" fmla="*/ 912 w 2187"/>
                <a:gd name="T11" fmla="*/ 916 h 1474"/>
                <a:gd name="T12" fmla="*/ 755 w 2187"/>
                <a:gd name="T13" fmla="*/ 916 h 1474"/>
                <a:gd name="T14" fmla="*/ 708 w 2187"/>
                <a:gd name="T15" fmla="*/ 0 h 1474"/>
                <a:gd name="T16" fmla="*/ 541 w 2187"/>
                <a:gd name="T17" fmla="*/ 0 h 1474"/>
                <a:gd name="T18" fmla="*/ 503 w 2187"/>
                <a:gd name="T19" fmla="*/ 916 h 1474"/>
                <a:gd name="T20" fmla="*/ 466 w 2187"/>
                <a:gd name="T21" fmla="*/ 916 h 1474"/>
                <a:gd name="T22" fmla="*/ 419 w 2187"/>
                <a:gd name="T23" fmla="*/ 0 h 1474"/>
                <a:gd name="T24" fmla="*/ 251 w 2187"/>
                <a:gd name="T25" fmla="*/ 0 h 1474"/>
                <a:gd name="T26" fmla="*/ 213 w 2187"/>
                <a:gd name="T27" fmla="*/ 916 h 1474"/>
                <a:gd name="T28" fmla="*/ 0 w 2187"/>
                <a:gd name="T29" fmla="*/ 916 h 1474"/>
                <a:gd name="T30" fmla="*/ 67 w 2187"/>
                <a:gd name="T31" fmla="*/ 1040 h 1474"/>
                <a:gd name="T32" fmla="*/ 67 w 2187"/>
                <a:gd name="T33" fmla="*/ 1474 h 1474"/>
                <a:gd name="T34" fmla="*/ 2187 w 2187"/>
                <a:gd name="T35" fmla="*/ 1474 h 1474"/>
                <a:gd name="T36" fmla="*/ 2187 w 2187"/>
                <a:gd name="T37" fmla="*/ 953 h 1474"/>
                <a:gd name="T38" fmla="*/ 2042 w 2187"/>
                <a:gd name="T39" fmla="*/ 797 h 1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87" h="1474">
                  <a:moveTo>
                    <a:pt x="2042" y="797"/>
                  </a:moveTo>
                  <a:lnTo>
                    <a:pt x="1945" y="894"/>
                  </a:lnTo>
                  <a:lnTo>
                    <a:pt x="1945" y="658"/>
                  </a:lnTo>
                  <a:lnTo>
                    <a:pt x="2005" y="543"/>
                  </a:lnTo>
                  <a:lnTo>
                    <a:pt x="912" y="543"/>
                  </a:lnTo>
                  <a:lnTo>
                    <a:pt x="912" y="916"/>
                  </a:lnTo>
                  <a:lnTo>
                    <a:pt x="755" y="916"/>
                  </a:lnTo>
                  <a:lnTo>
                    <a:pt x="708" y="0"/>
                  </a:lnTo>
                  <a:lnTo>
                    <a:pt x="541" y="0"/>
                  </a:lnTo>
                  <a:lnTo>
                    <a:pt x="503" y="916"/>
                  </a:lnTo>
                  <a:lnTo>
                    <a:pt x="466" y="916"/>
                  </a:lnTo>
                  <a:lnTo>
                    <a:pt x="419" y="0"/>
                  </a:lnTo>
                  <a:lnTo>
                    <a:pt x="251" y="0"/>
                  </a:lnTo>
                  <a:lnTo>
                    <a:pt x="213" y="916"/>
                  </a:lnTo>
                  <a:lnTo>
                    <a:pt x="0" y="916"/>
                  </a:lnTo>
                  <a:lnTo>
                    <a:pt x="67" y="1040"/>
                  </a:lnTo>
                  <a:lnTo>
                    <a:pt x="67" y="1474"/>
                  </a:lnTo>
                  <a:lnTo>
                    <a:pt x="2187" y="1474"/>
                  </a:lnTo>
                  <a:lnTo>
                    <a:pt x="2187" y="953"/>
                  </a:lnTo>
                  <a:lnTo>
                    <a:pt x="2042" y="797"/>
                  </a:lnTo>
                  <a:close/>
                </a:path>
              </a:pathLst>
            </a:custGeom>
            <a:solidFill>
              <a:srgbClr val="000000"/>
            </a:solidFill>
            <a:ln w="3175" cmpd="sng">
              <a:solidFill>
                <a:srgbClr val="FB0129"/>
              </a:solidFill>
              <a:round/>
              <a:headEnd/>
              <a:tailEnd/>
            </a:ln>
          </p:spPr>
          <p:txBody>
            <a:bodyPr/>
            <a:lstStyle/>
            <a:p>
              <a:pPr defTabSz="609539"/>
              <a:endParaRPr lang="en-US" sz="2399">
                <a:solidFill>
                  <a:srgbClr val="000000"/>
                </a:solidFill>
              </a:endParaRPr>
            </a:p>
          </p:txBody>
        </p:sp>
        <p:sp>
          <p:nvSpPr>
            <p:cNvPr id="210" name="Freeform 253">
              <a:extLst>
                <a:ext uri="{FF2B5EF4-FFF2-40B4-BE49-F238E27FC236}">
                  <a16:creationId xmlns:a16="http://schemas.microsoft.com/office/drawing/2014/main" id="{68C28EAD-2021-452F-9BF6-351D440C7343}"/>
                </a:ext>
              </a:extLst>
            </p:cNvPr>
            <p:cNvSpPr>
              <a:spLocks/>
            </p:cNvSpPr>
            <p:nvPr/>
          </p:nvSpPr>
          <p:spPr bwMode="auto">
            <a:xfrm>
              <a:off x="3787" y="829"/>
              <a:ext cx="74" cy="47"/>
            </a:xfrm>
            <a:custGeom>
              <a:avLst/>
              <a:gdLst>
                <a:gd name="T0" fmla="*/ 923 w 923"/>
                <a:gd name="T1" fmla="*/ 116 h 579"/>
                <a:gd name="T2" fmla="*/ 923 w 923"/>
                <a:gd name="T3" fmla="*/ 366 h 579"/>
                <a:gd name="T4" fmla="*/ 473 w 923"/>
                <a:gd name="T5" fmla="*/ 366 h 579"/>
                <a:gd name="T6" fmla="*/ 473 w 923"/>
                <a:gd name="T7" fmla="*/ 579 h 579"/>
                <a:gd name="T8" fmla="*/ 0 w 923"/>
                <a:gd name="T9" fmla="*/ 579 h 579"/>
                <a:gd name="T10" fmla="*/ 0 w 923"/>
                <a:gd name="T11" fmla="*/ 149 h 579"/>
                <a:gd name="T12" fmla="*/ 122 w 923"/>
                <a:gd name="T13" fmla="*/ 16 h 579"/>
                <a:gd name="T14" fmla="*/ 232 w 923"/>
                <a:gd name="T15" fmla="*/ 136 h 579"/>
                <a:gd name="T16" fmla="*/ 355 w 923"/>
                <a:gd name="T17" fmla="*/ 11 h 579"/>
                <a:gd name="T18" fmla="*/ 453 w 923"/>
                <a:gd name="T19" fmla="*/ 109 h 579"/>
                <a:gd name="T20" fmla="*/ 578 w 923"/>
                <a:gd name="T21" fmla="*/ 0 h 579"/>
                <a:gd name="T22" fmla="*/ 708 w 923"/>
                <a:gd name="T23" fmla="*/ 115 h 579"/>
                <a:gd name="T24" fmla="*/ 818 w 923"/>
                <a:gd name="T25" fmla="*/ 3 h 579"/>
                <a:gd name="T26" fmla="*/ 923 w 923"/>
                <a:gd name="T27" fmla="*/ 116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3" h="579">
                  <a:moveTo>
                    <a:pt x="923" y="116"/>
                  </a:moveTo>
                  <a:lnTo>
                    <a:pt x="923" y="366"/>
                  </a:lnTo>
                  <a:lnTo>
                    <a:pt x="473" y="366"/>
                  </a:lnTo>
                  <a:lnTo>
                    <a:pt x="473" y="579"/>
                  </a:lnTo>
                  <a:lnTo>
                    <a:pt x="0" y="579"/>
                  </a:lnTo>
                  <a:lnTo>
                    <a:pt x="0" y="149"/>
                  </a:lnTo>
                  <a:lnTo>
                    <a:pt x="122" y="16"/>
                  </a:lnTo>
                  <a:lnTo>
                    <a:pt x="232" y="136"/>
                  </a:lnTo>
                  <a:lnTo>
                    <a:pt x="355" y="11"/>
                  </a:lnTo>
                  <a:lnTo>
                    <a:pt x="453" y="109"/>
                  </a:lnTo>
                  <a:lnTo>
                    <a:pt x="578" y="0"/>
                  </a:lnTo>
                  <a:lnTo>
                    <a:pt x="708" y="115"/>
                  </a:lnTo>
                  <a:lnTo>
                    <a:pt x="818" y="3"/>
                  </a:lnTo>
                  <a:lnTo>
                    <a:pt x="923" y="116"/>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211" name="Rectangle 254">
              <a:extLst>
                <a:ext uri="{FF2B5EF4-FFF2-40B4-BE49-F238E27FC236}">
                  <a16:creationId xmlns:a16="http://schemas.microsoft.com/office/drawing/2014/main" id="{EF42F1D8-74D8-4B93-8004-8BAD055FC64D}"/>
                </a:ext>
              </a:extLst>
            </p:cNvPr>
            <p:cNvSpPr>
              <a:spLocks noChangeArrowheads="1"/>
            </p:cNvSpPr>
            <p:nvPr/>
          </p:nvSpPr>
          <p:spPr bwMode="auto">
            <a:xfrm>
              <a:off x="3828" y="862"/>
              <a:ext cx="10" cy="14"/>
            </a:xfrm>
            <a:prstGeom prst="rect">
              <a:avLst/>
            </a:prstGeom>
            <a:solidFill>
              <a:srgbClr val="FFFFFF"/>
            </a:solidFill>
            <a:ln w="3175">
              <a:solidFill>
                <a:srgbClr val="FB0129"/>
              </a:solidFill>
              <a:miter lim="800000"/>
              <a:headEnd/>
              <a:tailEnd/>
            </a:ln>
          </p:spPr>
          <p:txBody>
            <a:bodyPr/>
            <a:lstStyle/>
            <a:p>
              <a:pPr defTabSz="609539"/>
              <a:endParaRPr lang="en-US" sz="2399">
                <a:solidFill>
                  <a:srgbClr val="000000"/>
                </a:solidFill>
              </a:endParaRPr>
            </a:p>
          </p:txBody>
        </p:sp>
        <p:sp>
          <p:nvSpPr>
            <p:cNvPr id="212" name="Rectangle 255">
              <a:extLst>
                <a:ext uri="{FF2B5EF4-FFF2-40B4-BE49-F238E27FC236}">
                  <a16:creationId xmlns:a16="http://schemas.microsoft.com/office/drawing/2014/main" id="{C76BBED2-9C0E-4F80-B1FD-34743D4A1293}"/>
                </a:ext>
              </a:extLst>
            </p:cNvPr>
            <p:cNvSpPr>
              <a:spLocks noChangeArrowheads="1"/>
            </p:cNvSpPr>
            <p:nvPr/>
          </p:nvSpPr>
          <p:spPr bwMode="auto">
            <a:xfrm>
              <a:off x="3841" y="862"/>
              <a:ext cx="9" cy="14"/>
            </a:xfrm>
            <a:prstGeom prst="rect">
              <a:avLst/>
            </a:prstGeom>
            <a:solidFill>
              <a:srgbClr val="FFFFFF"/>
            </a:solidFill>
            <a:ln w="3175">
              <a:solidFill>
                <a:srgbClr val="FB0129"/>
              </a:solidFill>
              <a:miter lim="800000"/>
              <a:headEnd/>
              <a:tailEnd/>
            </a:ln>
          </p:spPr>
          <p:txBody>
            <a:bodyPr/>
            <a:lstStyle/>
            <a:p>
              <a:pPr defTabSz="609539"/>
              <a:endParaRPr lang="en-US" sz="2399">
                <a:solidFill>
                  <a:srgbClr val="000000"/>
                </a:solidFill>
              </a:endParaRPr>
            </a:p>
          </p:txBody>
        </p:sp>
        <p:sp>
          <p:nvSpPr>
            <p:cNvPr id="213" name="Rectangle 256">
              <a:extLst>
                <a:ext uri="{FF2B5EF4-FFF2-40B4-BE49-F238E27FC236}">
                  <a16:creationId xmlns:a16="http://schemas.microsoft.com/office/drawing/2014/main" id="{866F2A41-B9E7-4DE6-B37A-AB13AA1BA929}"/>
                </a:ext>
              </a:extLst>
            </p:cNvPr>
            <p:cNvSpPr>
              <a:spLocks noChangeArrowheads="1"/>
            </p:cNvSpPr>
            <p:nvPr/>
          </p:nvSpPr>
          <p:spPr bwMode="auto">
            <a:xfrm>
              <a:off x="3853" y="862"/>
              <a:ext cx="8" cy="14"/>
            </a:xfrm>
            <a:prstGeom prst="rect">
              <a:avLst/>
            </a:prstGeom>
            <a:solidFill>
              <a:srgbClr val="FFFFFF"/>
            </a:solidFill>
            <a:ln w="3175">
              <a:solidFill>
                <a:srgbClr val="FB0129"/>
              </a:solidFill>
              <a:miter lim="800000"/>
              <a:headEnd/>
              <a:tailEnd/>
            </a:ln>
          </p:spPr>
          <p:txBody>
            <a:bodyPr/>
            <a:lstStyle/>
            <a:p>
              <a:pPr defTabSz="609539"/>
              <a:endParaRPr lang="en-US" sz="2399">
                <a:solidFill>
                  <a:srgbClr val="000000"/>
                </a:solidFill>
              </a:endParaRPr>
            </a:p>
          </p:txBody>
        </p:sp>
        <p:sp>
          <p:nvSpPr>
            <p:cNvPr id="214" name="Freeform 257">
              <a:extLst>
                <a:ext uri="{FF2B5EF4-FFF2-40B4-BE49-F238E27FC236}">
                  <a16:creationId xmlns:a16="http://schemas.microsoft.com/office/drawing/2014/main" id="{57A69E08-5677-493D-B46D-479F4976CBCB}"/>
                </a:ext>
              </a:extLst>
            </p:cNvPr>
            <p:cNvSpPr>
              <a:spLocks/>
            </p:cNvSpPr>
            <p:nvPr/>
          </p:nvSpPr>
          <p:spPr bwMode="auto">
            <a:xfrm>
              <a:off x="3765" y="808"/>
              <a:ext cx="79" cy="68"/>
            </a:xfrm>
            <a:custGeom>
              <a:avLst/>
              <a:gdLst>
                <a:gd name="T0" fmla="*/ 950 w 984"/>
                <a:gd name="T1" fmla="*/ 64 h 848"/>
                <a:gd name="T2" fmla="*/ 950 w 984"/>
                <a:gd name="T3" fmla="*/ 306 h 848"/>
                <a:gd name="T4" fmla="*/ 847 w 984"/>
                <a:gd name="T5" fmla="*/ 213 h 848"/>
                <a:gd name="T6" fmla="*/ 725 w 984"/>
                <a:gd name="T7" fmla="*/ 322 h 848"/>
                <a:gd name="T8" fmla="*/ 624 w 984"/>
                <a:gd name="T9" fmla="*/ 223 h 848"/>
                <a:gd name="T10" fmla="*/ 502 w 984"/>
                <a:gd name="T11" fmla="*/ 345 h 848"/>
                <a:gd name="T12" fmla="*/ 391 w 984"/>
                <a:gd name="T13" fmla="*/ 224 h 848"/>
                <a:gd name="T14" fmla="*/ 228 w 984"/>
                <a:gd name="T15" fmla="*/ 402 h 848"/>
                <a:gd name="T16" fmla="*/ 228 w 984"/>
                <a:gd name="T17" fmla="*/ 848 h 848"/>
                <a:gd name="T18" fmla="*/ 0 w 984"/>
                <a:gd name="T19" fmla="*/ 848 h 848"/>
                <a:gd name="T20" fmla="*/ 0 w 984"/>
                <a:gd name="T21" fmla="*/ 0 h 848"/>
                <a:gd name="T22" fmla="*/ 984 w 984"/>
                <a:gd name="T23" fmla="*/ 0 h 848"/>
                <a:gd name="T24" fmla="*/ 950 w 984"/>
                <a:gd name="T25" fmla="*/ 6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4" h="848">
                  <a:moveTo>
                    <a:pt x="950" y="64"/>
                  </a:moveTo>
                  <a:lnTo>
                    <a:pt x="950" y="306"/>
                  </a:lnTo>
                  <a:lnTo>
                    <a:pt x="847" y="213"/>
                  </a:lnTo>
                  <a:lnTo>
                    <a:pt x="725" y="322"/>
                  </a:lnTo>
                  <a:lnTo>
                    <a:pt x="624" y="223"/>
                  </a:lnTo>
                  <a:lnTo>
                    <a:pt x="502" y="345"/>
                  </a:lnTo>
                  <a:lnTo>
                    <a:pt x="391" y="224"/>
                  </a:lnTo>
                  <a:lnTo>
                    <a:pt x="228" y="402"/>
                  </a:lnTo>
                  <a:lnTo>
                    <a:pt x="228" y="848"/>
                  </a:lnTo>
                  <a:lnTo>
                    <a:pt x="0" y="848"/>
                  </a:lnTo>
                  <a:lnTo>
                    <a:pt x="0" y="0"/>
                  </a:lnTo>
                  <a:lnTo>
                    <a:pt x="984" y="0"/>
                  </a:lnTo>
                  <a:lnTo>
                    <a:pt x="950" y="64"/>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215" name="Freeform 258">
              <a:extLst>
                <a:ext uri="{FF2B5EF4-FFF2-40B4-BE49-F238E27FC236}">
                  <a16:creationId xmlns:a16="http://schemas.microsoft.com/office/drawing/2014/main" id="{6AFFF7C0-44BA-4B23-8AA5-DBC0F1DE2D34}"/>
                </a:ext>
              </a:extLst>
            </p:cNvPr>
            <p:cNvSpPr>
              <a:spLocks/>
            </p:cNvSpPr>
            <p:nvPr/>
          </p:nvSpPr>
          <p:spPr bwMode="auto">
            <a:xfrm>
              <a:off x="3733" y="764"/>
              <a:ext cx="13" cy="70"/>
            </a:xfrm>
            <a:custGeom>
              <a:avLst/>
              <a:gdLst>
                <a:gd name="T0" fmla="*/ 37 w 170"/>
                <a:gd name="T1" fmla="*/ 0 h 876"/>
                <a:gd name="T2" fmla="*/ 126 w 170"/>
                <a:gd name="T3" fmla="*/ 0 h 876"/>
                <a:gd name="T4" fmla="*/ 128 w 170"/>
                <a:gd name="T5" fmla="*/ 36 h 876"/>
                <a:gd name="T6" fmla="*/ 81 w 170"/>
                <a:gd name="T7" fmla="*/ 36 h 876"/>
                <a:gd name="T8" fmla="*/ 81 w 170"/>
                <a:gd name="T9" fmla="*/ 78 h 876"/>
                <a:gd name="T10" fmla="*/ 131 w 170"/>
                <a:gd name="T11" fmla="*/ 78 h 876"/>
                <a:gd name="T12" fmla="*/ 170 w 170"/>
                <a:gd name="T13" fmla="*/ 876 h 876"/>
                <a:gd name="T14" fmla="*/ 0 w 170"/>
                <a:gd name="T15" fmla="*/ 876 h 876"/>
                <a:gd name="T16" fmla="*/ 37 w 170"/>
                <a:gd name="T1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876">
                  <a:moveTo>
                    <a:pt x="37" y="0"/>
                  </a:moveTo>
                  <a:lnTo>
                    <a:pt x="126" y="0"/>
                  </a:lnTo>
                  <a:lnTo>
                    <a:pt x="128" y="36"/>
                  </a:lnTo>
                  <a:lnTo>
                    <a:pt x="81" y="36"/>
                  </a:lnTo>
                  <a:lnTo>
                    <a:pt x="81" y="78"/>
                  </a:lnTo>
                  <a:lnTo>
                    <a:pt x="131" y="78"/>
                  </a:lnTo>
                  <a:lnTo>
                    <a:pt x="170" y="876"/>
                  </a:lnTo>
                  <a:lnTo>
                    <a:pt x="0" y="876"/>
                  </a:lnTo>
                  <a:lnTo>
                    <a:pt x="37" y="0"/>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216" name="Freeform 259">
              <a:extLst>
                <a:ext uri="{FF2B5EF4-FFF2-40B4-BE49-F238E27FC236}">
                  <a16:creationId xmlns:a16="http://schemas.microsoft.com/office/drawing/2014/main" id="{1FCCADD5-4CB4-468E-977B-D4D6359E13EF}"/>
                </a:ext>
              </a:extLst>
            </p:cNvPr>
            <p:cNvSpPr>
              <a:spLocks/>
            </p:cNvSpPr>
            <p:nvPr/>
          </p:nvSpPr>
          <p:spPr bwMode="auto">
            <a:xfrm>
              <a:off x="3709" y="764"/>
              <a:ext cx="14" cy="70"/>
            </a:xfrm>
            <a:custGeom>
              <a:avLst/>
              <a:gdLst>
                <a:gd name="T0" fmla="*/ 37 w 171"/>
                <a:gd name="T1" fmla="*/ 0 h 876"/>
                <a:gd name="T2" fmla="*/ 126 w 171"/>
                <a:gd name="T3" fmla="*/ 0 h 876"/>
                <a:gd name="T4" fmla="*/ 128 w 171"/>
                <a:gd name="T5" fmla="*/ 42 h 876"/>
                <a:gd name="T6" fmla="*/ 86 w 171"/>
                <a:gd name="T7" fmla="*/ 42 h 876"/>
                <a:gd name="T8" fmla="*/ 86 w 171"/>
                <a:gd name="T9" fmla="*/ 83 h 876"/>
                <a:gd name="T10" fmla="*/ 130 w 171"/>
                <a:gd name="T11" fmla="*/ 83 h 876"/>
                <a:gd name="T12" fmla="*/ 171 w 171"/>
                <a:gd name="T13" fmla="*/ 876 h 876"/>
                <a:gd name="T14" fmla="*/ 0 w 171"/>
                <a:gd name="T15" fmla="*/ 876 h 876"/>
                <a:gd name="T16" fmla="*/ 37 w 171"/>
                <a:gd name="T1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876">
                  <a:moveTo>
                    <a:pt x="37" y="0"/>
                  </a:moveTo>
                  <a:lnTo>
                    <a:pt x="126" y="0"/>
                  </a:lnTo>
                  <a:lnTo>
                    <a:pt x="128" y="42"/>
                  </a:lnTo>
                  <a:lnTo>
                    <a:pt x="86" y="42"/>
                  </a:lnTo>
                  <a:lnTo>
                    <a:pt x="86" y="83"/>
                  </a:lnTo>
                  <a:lnTo>
                    <a:pt x="130" y="83"/>
                  </a:lnTo>
                  <a:lnTo>
                    <a:pt x="171" y="876"/>
                  </a:lnTo>
                  <a:lnTo>
                    <a:pt x="0" y="876"/>
                  </a:lnTo>
                  <a:lnTo>
                    <a:pt x="37" y="0"/>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217" name="Freeform 260">
              <a:extLst>
                <a:ext uri="{FF2B5EF4-FFF2-40B4-BE49-F238E27FC236}">
                  <a16:creationId xmlns:a16="http://schemas.microsoft.com/office/drawing/2014/main" id="{D780C8AC-BFB3-4B25-917A-C8FCEBE4339B}"/>
                </a:ext>
              </a:extLst>
            </p:cNvPr>
            <p:cNvSpPr>
              <a:spLocks/>
            </p:cNvSpPr>
            <p:nvPr/>
          </p:nvSpPr>
          <p:spPr bwMode="auto">
            <a:xfrm>
              <a:off x="3695" y="838"/>
              <a:ext cx="67" cy="38"/>
            </a:xfrm>
            <a:custGeom>
              <a:avLst/>
              <a:gdLst>
                <a:gd name="T0" fmla="*/ 0 w 843"/>
                <a:gd name="T1" fmla="*/ 0 h 475"/>
                <a:gd name="T2" fmla="*/ 843 w 843"/>
                <a:gd name="T3" fmla="*/ 0 h 475"/>
                <a:gd name="T4" fmla="*/ 843 w 843"/>
                <a:gd name="T5" fmla="*/ 97 h 475"/>
                <a:gd name="T6" fmla="*/ 752 w 843"/>
                <a:gd name="T7" fmla="*/ 97 h 475"/>
                <a:gd name="T8" fmla="*/ 752 w 843"/>
                <a:gd name="T9" fmla="*/ 139 h 475"/>
                <a:gd name="T10" fmla="*/ 843 w 843"/>
                <a:gd name="T11" fmla="*/ 139 h 475"/>
                <a:gd name="T12" fmla="*/ 843 w 843"/>
                <a:gd name="T13" fmla="*/ 212 h 475"/>
                <a:gd name="T14" fmla="*/ 752 w 843"/>
                <a:gd name="T15" fmla="*/ 212 h 475"/>
                <a:gd name="T16" fmla="*/ 752 w 843"/>
                <a:gd name="T17" fmla="*/ 254 h 475"/>
                <a:gd name="T18" fmla="*/ 843 w 843"/>
                <a:gd name="T19" fmla="*/ 254 h 475"/>
                <a:gd name="T20" fmla="*/ 843 w 843"/>
                <a:gd name="T21" fmla="*/ 329 h 475"/>
                <a:gd name="T22" fmla="*/ 752 w 843"/>
                <a:gd name="T23" fmla="*/ 329 h 475"/>
                <a:gd name="T24" fmla="*/ 752 w 843"/>
                <a:gd name="T25" fmla="*/ 369 h 475"/>
                <a:gd name="T26" fmla="*/ 843 w 843"/>
                <a:gd name="T27" fmla="*/ 369 h 475"/>
                <a:gd name="T28" fmla="*/ 843 w 843"/>
                <a:gd name="T29" fmla="*/ 475 h 475"/>
                <a:gd name="T30" fmla="*/ 39 w 843"/>
                <a:gd name="T31" fmla="*/ 475 h 475"/>
                <a:gd name="T32" fmla="*/ 39 w 843"/>
                <a:gd name="T33" fmla="*/ 73 h 475"/>
                <a:gd name="T34" fmla="*/ 0 w 843"/>
                <a:gd name="T35"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3" h="475">
                  <a:moveTo>
                    <a:pt x="0" y="0"/>
                  </a:moveTo>
                  <a:lnTo>
                    <a:pt x="843" y="0"/>
                  </a:lnTo>
                  <a:lnTo>
                    <a:pt x="843" y="97"/>
                  </a:lnTo>
                  <a:lnTo>
                    <a:pt x="752" y="97"/>
                  </a:lnTo>
                  <a:lnTo>
                    <a:pt x="752" y="139"/>
                  </a:lnTo>
                  <a:lnTo>
                    <a:pt x="843" y="139"/>
                  </a:lnTo>
                  <a:lnTo>
                    <a:pt x="843" y="212"/>
                  </a:lnTo>
                  <a:lnTo>
                    <a:pt x="752" y="212"/>
                  </a:lnTo>
                  <a:lnTo>
                    <a:pt x="752" y="254"/>
                  </a:lnTo>
                  <a:lnTo>
                    <a:pt x="843" y="254"/>
                  </a:lnTo>
                  <a:lnTo>
                    <a:pt x="843" y="329"/>
                  </a:lnTo>
                  <a:lnTo>
                    <a:pt x="752" y="329"/>
                  </a:lnTo>
                  <a:lnTo>
                    <a:pt x="752" y="369"/>
                  </a:lnTo>
                  <a:lnTo>
                    <a:pt x="843" y="369"/>
                  </a:lnTo>
                  <a:lnTo>
                    <a:pt x="843" y="475"/>
                  </a:lnTo>
                  <a:lnTo>
                    <a:pt x="39" y="475"/>
                  </a:lnTo>
                  <a:lnTo>
                    <a:pt x="39" y="73"/>
                  </a:lnTo>
                  <a:lnTo>
                    <a:pt x="0" y="0"/>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218" name="Rectangle 261">
              <a:extLst>
                <a:ext uri="{FF2B5EF4-FFF2-40B4-BE49-F238E27FC236}">
                  <a16:creationId xmlns:a16="http://schemas.microsoft.com/office/drawing/2014/main" id="{1EE5FE59-DBB0-4993-A4E1-0134B33CAF65}"/>
                </a:ext>
              </a:extLst>
            </p:cNvPr>
            <p:cNvSpPr>
              <a:spLocks noChangeArrowheads="1"/>
            </p:cNvSpPr>
            <p:nvPr/>
          </p:nvSpPr>
          <p:spPr bwMode="auto">
            <a:xfrm>
              <a:off x="3772"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19" name="Rectangle 262">
              <a:extLst>
                <a:ext uri="{FF2B5EF4-FFF2-40B4-BE49-F238E27FC236}">
                  <a16:creationId xmlns:a16="http://schemas.microsoft.com/office/drawing/2014/main" id="{DE0F47FC-6019-42B7-B51B-C08880D1B1B7}"/>
                </a:ext>
              </a:extLst>
            </p:cNvPr>
            <p:cNvSpPr>
              <a:spLocks noChangeArrowheads="1"/>
            </p:cNvSpPr>
            <p:nvPr/>
          </p:nvSpPr>
          <p:spPr bwMode="auto">
            <a:xfrm>
              <a:off x="3785"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20" name="Rectangle 263">
              <a:extLst>
                <a:ext uri="{FF2B5EF4-FFF2-40B4-BE49-F238E27FC236}">
                  <a16:creationId xmlns:a16="http://schemas.microsoft.com/office/drawing/2014/main" id="{3FE34494-5F04-4EDD-AB74-D2BBA4BC6456}"/>
                </a:ext>
              </a:extLst>
            </p:cNvPr>
            <p:cNvSpPr>
              <a:spLocks noChangeArrowheads="1"/>
            </p:cNvSpPr>
            <p:nvPr/>
          </p:nvSpPr>
          <p:spPr bwMode="auto">
            <a:xfrm>
              <a:off x="3798"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21" name="Rectangle 264">
              <a:extLst>
                <a:ext uri="{FF2B5EF4-FFF2-40B4-BE49-F238E27FC236}">
                  <a16:creationId xmlns:a16="http://schemas.microsoft.com/office/drawing/2014/main" id="{F46D9D5C-36A9-405D-8CF8-96697FCB9FF2}"/>
                </a:ext>
              </a:extLst>
            </p:cNvPr>
            <p:cNvSpPr>
              <a:spLocks noChangeArrowheads="1"/>
            </p:cNvSpPr>
            <p:nvPr/>
          </p:nvSpPr>
          <p:spPr bwMode="auto">
            <a:xfrm>
              <a:off x="3811" y="813"/>
              <a:ext cx="7"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22" name="Rectangle 265">
              <a:extLst>
                <a:ext uri="{FF2B5EF4-FFF2-40B4-BE49-F238E27FC236}">
                  <a16:creationId xmlns:a16="http://schemas.microsoft.com/office/drawing/2014/main" id="{26F08821-A8BD-42B1-88E3-48A72CAA6FEC}"/>
                </a:ext>
              </a:extLst>
            </p:cNvPr>
            <p:cNvSpPr>
              <a:spLocks noChangeArrowheads="1"/>
            </p:cNvSpPr>
            <p:nvPr/>
          </p:nvSpPr>
          <p:spPr bwMode="auto">
            <a:xfrm>
              <a:off x="3823"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23" name="Rectangle 266">
              <a:extLst>
                <a:ext uri="{FF2B5EF4-FFF2-40B4-BE49-F238E27FC236}">
                  <a16:creationId xmlns:a16="http://schemas.microsoft.com/office/drawing/2014/main" id="{C3184E69-798A-4040-9167-1F16647D40BE}"/>
                </a:ext>
              </a:extLst>
            </p:cNvPr>
            <p:cNvSpPr>
              <a:spLocks noChangeArrowheads="1"/>
            </p:cNvSpPr>
            <p:nvPr/>
          </p:nvSpPr>
          <p:spPr bwMode="auto">
            <a:xfrm>
              <a:off x="3703"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24" name="Rectangle 267">
              <a:extLst>
                <a:ext uri="{FF2B5EF4-FFF2-40B4-BE49-F238E27FC236}">
                  <a16:creationId xmlns:a16="http://schemas.microsoft.com/office/drawing/2014/main" id="{94D27022-BAD9-4716-9BCD-D7B04C533493}"/>
                </a:ext>
              </a:extLst>
            </p:cNvPr>
            <p:cNvSpPr>
              <a:spLocks noChangeArrowheads="1"/>
            </p:cNvSpPr>
            <p:nvPr/>
          </p:nvSpPr>
          <p:spPr bwMode="auto">
            <a:xfrm>
              <a:off x="3716"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25" name="Rectangle 268">
              <a:extLst>
                <a:ext uri="{FF2B5EF4-FFF2-40B4-BE49-F238E27FC236}">
                  <a16:creationId xmlns:a16="http://schemas.microsoft.com/office/drawing/2014/main" id="{D1DC7D36-0436-4BFA-B676-0267B3C965DA}"/>
                </a:ext>
              </a:extLst>
            </p:cNvPr>
            <p:cNvSpPr>
              <a:spLocks noChangeArrowheads="1"/>
            </p:cNvSpPr>
            <p:nvPr/>
          </p:nvSpPr>
          <p:spPr bwMode="auto">
            <a:xfrm>
              <a:off x="3729"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26" name="Rectangle 269">
              <a:extLst>
                <a:ext uri="{FF2B5EF4-FFF2-40B4-BE49-F238E27FC236}">
                  <a16:creationId xmlns:a16="http://schemas.microsoft.com/office/drawing/2014/main" id="{B32C8E14-3B64-4216-AE4D-EEA3E6D5A55B}"/>
                </a:ext>
              </a:extLst>
            </p:cNvPr>
            <p:cNvSpPr>
              <a:spLocks noChangeArrowheads="1"/>
            </p:cNvSpPr>
            <p:nvPr/>
          </p:nvSpPr>
          <p:spPr bwMode="auto">
            <a:xfrm>
              <a:off x="3742"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27" name="Rectangle 270">
              <a:extLst>
                <a:ext uri="{FF2B5EF4-FFF2-40B4-BE49-F238E27FC236}">
                  <a16:creationId xmlns:a16="http://schemas.microsoft.com/office/drawing/2014/main" id="{6E212AEE-7872-4551-B0DB-FA23E5F121E5}"/>
                </a:ext>
              </a:extLst>
            </p:cNvPr>
            <p:cNvSpPr>
              <a:spLocks noChangeArrowheads="1"/>
            </p:cNvSpPr>
            <p:nvPr/>
          </p:nvSpPr>
          <p:spPr bwMode="auto">
            <a:xfrm>
              <a:off x="3703"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28" name="Rectangle 271">
              <a:extLst>
                <a:ext uri="{FF2B5EF4-FFF2-40B4-BE49-F238E27FC236}">
                  <a16:creationId xmlns:a16="http://schemas.microsoft.com/office/drawing/2014/main" id="{F18CCF89-3713-4309-B240-C2722F4053DB}"/>
                </a:ext>
              </a:extLst>
            </p:cNvPr>
            <p:cNvSpPr>
              <a:spLocks noChangeArrowheads="1"/>
            </p:cNvSpPr>
            <p:nvPr/>
          </p:nvSpPr>
          <p:spPr bwMode="auto">
            <a:xfrm>
              <a:off x="3716"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29" name="Rectangle 272">
              <a:extLst>
                <a:ext uri="{FF2B5EF4-FFF2-40B4-BE49-F238E27FC236}">
                  <a16:creationId xmlns:a16="http://schemas.microsoft.com/office/drawing/2014/main" id="{9CC6519D-182A-40EA-B2E5-37DAC5F6A8FD}"/>
                </a:ext>
              </a:extLst>
            </p:cNvPr>
            <p:cNvSpPr>
              <a:spLocks noChangeArrowheads="1"/>
            </p:cNvSpPr>
            <p:nvPr/>
          </p:nvSpPr>
          <p:spPr bwMode="auto">
            <a:xfrm>
              <a:off x="3729"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30" name="Rectangle 273">
              <a:extLst>
                <a:ext uri="{FF2B5EF4-FFF2-40B4-BE49-F238E27FC236}">
                  <a16:creationId xmlns:a16="http://schemas.microsoft.com/office/drawing/2014/main" id="{789E8143-DF45-4E46-B758-6B3333FE1F73}"/>
                </a:ext>
              </a:extLst>
            </p:cNvPr>
            <p:cNvSpPr>
              <a:spLocks noChangeArrowheads="1"/>
            </p:cNvSpPr>
            <p:nvPr/>
          </p:nvSpPr>
          <p:spPr bwMode="auto">
            <a:xfrm>
              <a:off x="3742"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31" name="Rectangle 274">
              <a:extLst>
                <a:ext uri="{FF2B5EF4-FFF2-40B4-BE49-F238E27FC236}">
                  <a16:creationId xmlns:a16="http://schemas.microsoft.com/office/drawing/2014/main" id="{87C07B28-41A9-474C-88C6-32056A7A3746}"/>
                </a:ext>
              </a:extLst>
            </p:cNvPr>
            <p:cNvSpPr>
              <a:spLocks noChangeArrowheads="1"/>
            </p:cNvSpPr>
            <p:nvPr/>
          </p:nvSpPr>
          <p:spPr bwMode="auto">
            <a:xfrm>
              <a:off x="3703"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32" name="Rectangle 275">
              <a:extLst>
                <a:ext uri="{FF2B5EF4-FFF2-40B4-BE49-F238E27FC236}">
                  <a16:creationId xmlns:a16="http://schemas.microsoft.com/office/drawing/2014/main" id="{919910DC-45C2-4388-AEBC-585791DCC5DF}"/>
                </a:ext>
              </a:extLst>
            </p:cNvPr>
            <p:cNvSpPr>
              <a:spLocks noChangeArrowheads="1"/>
            </p:cNvSpPr>
            <p:nvPr/>
          </p:nvSpPr>
          <p:spPr bwMode="auto">
            <a:xfrm>
              <a:off x="3716"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33" name="Rectangle 276">
              <a:extLst>
                <a:ext uri="{FF2B5EF4-FFF2-40B4-BE49-F238E27FC236}">
                  <a16:creationId xmlns:a16="http://schemas.microsoft.com/office/drawing/2014/main" id="{2B74485C-D36A-4099-A03B-432B2BF92C56}"/>
                </a:ext>
              </a:extLst>
            </p:cNvPr>
            <p:cNvSpPr>
              <a:spLocks noChangeArrowheads="1"/>
            </p:cNvSpPr>
            <p:nvPr/>
          </p:nvSpPr>
          <p:spPr bwMode="auto">
            <a:xfrm>
              <a:off x="3729"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34" name="Rectangle 277">
              <a:extLst>
                <a:ext uri="{FF2B5EF4-FFF2-40B4-BE49-F238E27FC236}">
                  <a16:creationId xmlns:a16="http://schemas.microsoft.com/office/drawing/2014/main" id="{8D3D84D2-06BF-440C-9B6F-A87C7323B7CF}"/>
                </a:ext>
              </a:extLst>
            </p:cNvPr>
            <p:cNvSpPr>
              <a:spLocks noChangeArrowheads="1"/>
            </p:cNvSpPr>
            <p:nvPr/>
          </p:nvSpPr>
          <p:spPr bwMode="auto">
            <a:xfrm>
              <a:off x="3742"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grpSp>
      <p:grpSp>
        <p:nvGrpSpPr>
          <p:cNvPr id="235" name="Group 278">
            <a:extLst>
              <a:ext uri="{FF2B5EF4-FFF2-40B4-BE49-F238E27FC236}">
                <a16:creationId xmlns:a16="http://schemas.microsoft.com/office/drawing/2014/main" id="{5648426E-CA94-4041-929A-352633502E59}"/>
              </a:ext>
            </a:extLst>
          </p:cNvPr>
          <p:cNvGrpSpPr>
            <a:grpSpLocks/>
          </p:cNvGrpSpPr>
          <p:nvPr/>
        </p:nvGrpSpPr>
        <p:grpSpPr bwMode="auto">
          <a:xfrm>
            <a:off x="9181996" y="2024823"/>
            <a:ext cx="209544" cy="142871"/>
            <a:chOff x="3689" y="761"/>
            <a:chExt cx="175" cy="118"/>
          </a:xfrm>
        </p:grpSpPr>
        <p:sp>
          <p:nvSpPr>
            <p:cNvPr id="236" name="Freeform 279">
              <a:extLst>
                <a:ext uri="{FF2B5EF4-FFF2-40B4-BE49-F238E27FC236}">
                  <a16:creationId xmlns:a16="http://schemas.microsoft.com/office/drawing/2014/main" id="{A28C6930-CF1E-4FF1-A352-A8EDD6EB2F80}"/>
                </a:ext>
              </a:extLst>
            </p:cNvPr>
            <p:cNvSpPr>
              <a:spLocks/>
            </p:cNvSpPr>
            <p:nvPr/>
          </p:nvSpPr>
          <p:spPr bwMode="auto">
            <a:xfrm>
              <a:off x="3689" y="761"/>
              <a:ext cx="175" cy="118"/>
            </a:xfrm>
            <a:custGeom>
              <a:avLst/>
              <a:gdLst>
                <a:gd name="T0" fmla="*/ 2042 w 2187"/>
                <a:gd name="T1" fmla="*/ 797 h 1474"/>
                <a:gd name="T2" fmla="*/ 1945 w 2187"/>
                <a:gd name="T3" fmla="*/ 894 h 1474"/>
                <a:gd name="T4" fmla="*/ 1945 w 2187"/>
                <a:gd name="T5" fmla="*/ 658 h 1474"/>
                <a:gd name="T6" fmla="*/ 2005 w 2187"/>
                <a:gd name="T7" fmla="*/ 543 h 1474"/>
                <a:gd name="T8" fmla="*/ 912 w 2187"/>
                <a:gd name="T9" fmla="*/ 543 h 1474"/>
                <a:gd name="T10" fmla="*/ 912 w 2187"/>
                <a:gd name="T11" fmla="*/ 916 h 1474"/>
                <a:gd name="T12" fmla="*/ 755 w 2187"/>
                <a:gd name="T13" fmla="*/ 916 h 1474"/>
                <a:gd name="T14" fmla="*/ 708 w 2187"/>
                <a:gd name="T15" fmla="*/ 0 h 1474"/>
                <a:gd name="T16" fmla="*/ 541 w 2187"/>
                <a:gd name="T17" fmla="*/ 0 h 1474"/>
                <a:gd name="T18" fmla="*/ 503 w 2187"/>
                <a:gd name="T19" fmla="*/ 916 h 1474"/>
                <a:gd name="T20" fmla="*/ 466 w 2187"/>
                <a:gd name="T21" fmla="*/ 916 h 1474"/>
                <a:gd name="T22" fmla="*/ 419 w 2187"/>
                <a:gd name="T23" fmla="*/ 0 h 1474"/>
                <a:gd name="T24" fmla="*/ 251 w 2187"/>
                <a:gd name="T25" fmla="*/ 0 h 1474"/>
                <a:gd name="T26" fmla="*/ 213 w 2187"/>
                <a:gd name="T27" fmla="*/ 916 h 1474"/>
                <a:gd name="T28" fmla="*/ 0 w 2187"/>
                <a:gd name="T29" fmla="*/ 916 h 1474"/>
                <a:gd name="T30" fmla="*/ 67 w 2187"/>
                <a:gd name="T31" fmla="*/ 1040 h 1474"/>
                <a:gd name="T32" fmla="*/ 67 w 2187"/>
                <a:gd name="T33" fmla="*/ 1474 h 1474"/>
                <a:gd name="T34" fmla="*/ 2187 w 2187"/>
                <a:gd name="T35" fmla="*/ 1474 h 1474"/>
                <a:gd name="T36" fmla="*/ 2187 w 2187"/>
                <a:gd name="T37" fmla="*/ 953 h 1474"/>
                <a:gd name="T38" fmla="*/ 2042 w 2187"/>
                <a:gd name="T39" fmla="*/ 797 h 1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87" h="1474">
                  <a:moveTo>
                    <a:pt x="2042" y="797"/>
                  </a:moveTo>
                  <a:lnTo>
                    <a:pt x="1945" y="894"/>
                  </a:lnTo>
                  <a:lnTo>
                    <a:pt x="1945" y="658"/>
                  </a:lnTo>
                  <a:lnTo>
                    <a:pt x="2005" y="543"/>
                  </a:lnTo>
                  <a:lnTo>
                    <a:pt x="912" y="543"/>
                  </a:lnTo>
                  <a:lnTo>
                    <a:pt x="912" y="916"/>
                  </a:lnTo>
                  <a:lnTo>
                    <a:pt x="755" y="916"/>
                  </a:lnTo>
                  <a:lnTo>
                    <a:pt x="708" y="0"/>
                  </a:lnTo>
                  <a:lnTo>
                    <a:pt x="541" y="0"/>
                  </a:lnTo>
                  <a:lnTo>
                    <a:pt x="503" y="916"/>
                  </a:lnTo>
                  <a:lnTo>
                    <a:pt x="466" y="916"/>
                  </a:lnTo>
                  <a:lnTo>
                    <a:pt x="419" y="0"/>
                  </a:lnTo>
                  <a:lnTo>
                    <a:pt x="251" y="0"/>
                  </a:lnTo>
                  <a:lnTo>
                    <a:pt x="213" y="916"/>
                  </a:lnTo>
                  <a:lnTo>
                    <a:pt x="0" y="916"/>
                  </a:lnTo>
                  <a:lnTo>
                    <a:pt x="67" y="1040"/>
                  </a:lnTo>
                  <a:lnTo>
                    <a:pt x="67" y="1474"/>
                  </a:lnTo>
                  <a:lnTo>
                    <a:pt x="2187" y="1474"/>
                  </a:lnTo>
                  <a:lnTo>
                    <a:pt x="2187" y="953"/>
                  </a:lnTo>
                  <a:lnTo>
                    <a:pt x="2042" y="797"/>
                  </a:lnTo>
                  <a:close/>
                </a:path>
              </a:pathLst>
            </a:custGeom>
            <a:solidFill>
              <a:srgbClr val="000000"/>
            </a:solidFill>
            <a:ln w="3175" cmpd="sng">
              <a:solidFill>
                <a:srgbClr val="FB0129"/>
              </a:solidFill>
              <a:round/>
              <a:headEnd/>
              <a:tailEnd/>
            </a:ln>
          </p:spPr>
          <p:txBody>
            <a:bodyPr/>
            <a:lstStyle/>
            <a:p>
              <a:pPr defTabSz="609539"/>
              <a:endParaRPr lang="en-US" sz="2399">
                <a:solidFill>
                  <a:srgbClr val="000000"/>
                </a:solidFill>
              </a:endParaRPr>
            </a:p>
          </p:txBody>
        </p:sp>
        <p:sp>
          <p:nvSpPr>
            <p:cNvPr id="237" name="Freeform 280">
              <a:extLst>
                <a:ext uri="{FF2B5EF4-FFF2-40B4-BE49-F238E27FC236}">
                  <a16:creationId xmlns:a16="http://schemas.microsoft.com/office/drawing/2014/main" id="{8E458436-67ED-46FD-90B3-369E09385698}"/>
                </a:ext>
              </a:extLst>
            </p:cNvPr>
            <p:cNvSpPr>
              <a:spLocks/>
            </p:cNvSpPr>
            <p:nvPr/>
          </p:nvSpPr>
          <p:spPr bwMode="auto">
            <a:xfrm>
              <a:off x="3787" y="829"/>
              <a:ext cx="74" cy="47"/>
            </a:xfrm>
            <a:custGeom>
              <a:avLst/>
              <a:gdLst>
                <a:gd name="T0" fmla="*/ 923 w 923"/>
                <a:gd name="T1" fmla="*/ 116 h 579"/>
                <a:gd name="T2" fmla="*/ 923 w 923"/>
                <a:gd name="T3" fmla="*/ 366 h 579"/>
                <a:gd name="T4" fmla="*/ 473 w 923"/>
                <a:gd name="T5" fmla="*/ 366 h 579"/>
                <a:gd name="T6" fmla="*/ 473 w 923"/>
                <a:gd name="T7" fmla="*/ 579 h 579"/>
                <a:gd name="T8" fmla="*/ 0 w 923"/>
                <a:gd name="T9" fmla="*/ 579 h 579"/>
                <a:gd name="T10" fmla="*/ 0 w 923"/>
                <a:gd name="T11" fmla="*/ 149 h 579"/>
                <a:gd name="T12" fmla="*/ 122 w 923"/>
                <a:gd name="T13" fmla="*/ 16 h 579"/>
                <a:gd name="T14" fmla="*/ 232 w 923"/>
                <a:gd name="T15" fmla="*/ 136 h 579"/>
                <a:gd name="T16" fmla="*/ 355 w 923"/>
                <a:gd name="T17" fmla="*/ 11 h 579"/>
                <a:gd name="T18" fmla="*/ 453 w 923"/>
                <a:gd name="T19" fmla="*/ 109 h 579"/>
                <a:gd name="T20" fmla="*/ 578 w 923"/>
                <a:gd name="T21" fmla="*/ 0 h 579"/>
                <a:gd name="T22" fmla="*/ 708 w 923"/>
                <a:gd name="T23" fmla="*/ 115 h 579"/>
                <a:gd name="T24" fmla="*/ 818 w 923"/>
                <a:gd name="T25" fmla="*/ 3 h 579"/>
                <a:gd name="T26" fmla="*/ 923 w 923"/>
                <a:gd name="T27" fmla="*/ 116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3" h="579">
                  <a:moveTo>
                    <a:pt x="923" y="116"/>
                  </a:moveTo>
                  <a:lnTo>
                    <a:pt x="923" y="366"/>
                  </a:lnTo>
                  <a:lnTo>
                    <a:pt x="473" y="366"/>
                  </a:lnTo>
                  <a:lnTo>
                    <a:pt x="473" y="579"/>
                  </a:lnTo>
                  <a:lnTo>
                    <a:pt x="0" y="579"/>
                  </a:lnTo>
                  <a:lnTo>
                    <a:pt x="0" y="149"/>
                  </a:lnTo>
                  <a:lnTo>
                    <a:pt x="122" y="16"/>
                  </a:lnTo>
                  <a:lnTo>
                    <a:pt x="232" y="136"/>
                  </a:lnTo>
                  <a:lnTo>
                    <a:pt x="355" y="11"/>
                  </a:lnTo>
                  <a:lnTo>
                    <a:pt x="453" y="109"/>
                  </a:lnTo>
                  <a:lnTo>
                    <a:pt x="578" y="0"/>
                  </a:lnTo>
                  <a:lnTo>
                    <a:pt x="708" y="115"/>
                  </a:lnTo>
                  <a:lnTo>
                    <a:pt x="818" y="3"/>
                  </a:lnTo>
                  <a:lnTo>
                    <a:pt x="923" y="116"/>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238" name="Rectangle 281">
              <a:extLst>
                <a:ext uri="{FF2B5EF4-FFF2-40B4-BE49-F238E27FC236}">
                  <a16:creationId xmlns:a16="http://schemas.microsoft.com/office/drawing/2014/main" id="{9FB7B919-E2F6-4418-9972-0B5735B64885}"/>
                </a:ext>
              </a:extLst>
            </p:cNvPr>
            <p:cNvSpPr>
              <a:spLocks noChangeArrowheads="1"/>
            </p:cNvSpPr>
            <p:nvPr/>
          </p:nvSpPr>
          <p:spPr bwMode="auto">
            <a:xfrm>
              <a:off x="3828" y="862"/>
              <a:ext cx="10" cy="14"/>
            </a:xfrm>
            <a:prstGeom prst="rect">
              <a:avLst/>
            </a:prstGeom>
            <a:solidFill>
              <a:srgbClr val="FFFFFF"/>
            </a:solidFill>
            <a:ln w="3175">
              <a:solidFill>
                <a:srgbClr val="FB0129"/>
              </a:solidFill>
              <a:miter lim="800000"/>
              <a:headEnd/>
              <a:tailEnd/>
            </a:ln>
          </p:spPr>
          <p:txBody>
            <a:bodyPr/>
            <a:lstStyle/>
            <a:p>
              <a:pPr defTabSz="609539"/>
              <a:endParaRPr lang="en-US" sz="2399">
                <a:solidFill>
                  <a:srgbClr val="000000"/>
                </a:solidFill>
              </a:endParaRPr>
            </a:p>
          </p:txBody>
        </p:sp>
        <p:sp>
          <p:nvSpPr>
            <p:cNvPr id="239" name="Rectangle 282">
              <a:extLst>
                <a:ext uri="{FF2B5EF4-FFF2-40B4-BE49-F238E27FC236}">
                  <a16:creationId xmlns:a16="http://schemas.microsoft.com/office/drawing/2014/main" id="{E60C28B8-9B21-4607-A99A-7C2B6C650B41}"/>
                </a:ext>
              </a:extLst>
            </p:cNvPr>
            <p:cNvSpPr>
              <a:spLocks noChangeArrowheads="1"/>
            </p:cNvSpPr>
            <p:nvPr/>
          </p:nvSpPr>
          <p:spPr bwMode="auto">
            <a:xfrm>
              <a:off x="3841" y="862"/>
              <a:ext cx="9" cy="14"/>
            </a:xfrm>
            <a:prstGeom prst="rect">
              <a:avLst/>
            </a:prstGeom>
            <a:solidFill>
              <a:srgbClr val="FFFFFF"/>
            </a:solidFill>
            <a:ln w="3175">
              <a:solidFill>
                <a:srgbClr val="FB0129"/>
              </a:solidFill>
              <a:miter lim="800000"/>
              <a:headEnd/>
              <a:tailEnd/>
            </a:ln>
          </p:spPr>
          <p:txBody>
            <a:bodyPr/>
            <a:lstStyle/>
            <a:p>
              <a:pPr defTabSz="609539"/>
              <a:endParaRPr lang="en-US" sz="2399">
                <a:solidFill>
                  <a:srgbClr val="000000"/>
                </a:solidFill>
              </a:endParaRPr>
            </a:p>
          </p:txBody>
        </p:sp>
        <p:sp>
          <p:nvSpPr>
            <p:cNvPr id="240" name="Rectangle 283">
              <a:extLst>
                <a:ext uri="{FF2B5EF4-FFF2-40B4-BE49-F238E27FC236}">
                  <a16:creationId xmlns:a16="http://schemas.microsoft.com/office/drawing/2014/main" id="{E12A365C-3F93-4D16-B4CC-E506E9D5219E}"/>
                </a:ext>
              </a:extLst>
            </p:cNvPr>
            <p:cNvSpPr>
              <a:spLocks noChangeArrowheads="1"/>
            </p:cNvSpPr>
            <p:nvPr/>
          </p:nvSpPr>
          <p:spPr bwMode="auto">
            <a:xfrm>
              <a:off x="3853" y="862"/>
              <a:ext cx="8" cy="14"/>
            </a:xfrm>
            <a:prstGeom prst="rect">
              <a:avLst/>
            </a:prstGeom>
            <a:solidFill>
              <a:srgbClr val="FFFFFF"/>
            </a:solidFill>
            <a:ln w="3175">
              <a:solidFill>
                <a:srgbClr val="FB0129"/>
              </a:solidFill>
              <a:miter lim="800000"/>
              <a:headEnd/>
              <a:tailEnd/>
            </a:ln>
          </p:spPr>
          <p:txBody>
            <a:bodyPr/>
            <a:lstStyle/>
            <a:p>
              <a:pPr defTabSz="609539"/>
              <a:endParaRPr lang="en-US" sz="2399">
                <a:solidFill>
                  <a:srgbClr val="000000"/>
                </a:solidFill>
              </a:endParaRPr>
            </a:p>
          </p:txBody>
        </p:sp>
        <p:sp>
          <p:nvSpPr>
            <p:cNvPr id="241" name="Freeform 284">
              <a:extLst>
                <a:ext uri="{FF2B5EF4-FFF2-40B4-BE49-F238E27FC236}">
                  <a16:creationId xmlns:a16="http://schemas.microsoft.com/office/drawing/2014/main" id="{65369BDA-0B44-4119-B952-FE8B91DB68A3}"/>
                </a:ext>
              </a:extLst>
            </p:cNvPr>
            <p:cNvSpPr>
              <a:spLocks/>
            </p:cNvSpPr>
            <p:nvPr/>
          </p:nvSpPr>
          <p:spPr bwMode="auto">
            <a:xfrm>
              <a:off x="3765" y="808"/>
              <a:ext cx="79" cy="68"/>
            </a:xfrm>
            <a:custGeom>
              <a:avLst/>
              <a:gdLst>
                <a:gd name="T0" fmla="*/ 950 w 984"/>
                <a:gd name="T1" fmla="*/ 64 h 848"/>
                <a:gd name="T2" fmla="*/ 950 w 984"/>
                <a:gd name="T3" fmla="*/ 306 h 848"/>
                <a:gd name="T4" fmla="*/ 847 w 984"/>
                <a:gd name="T5" fmla="*/ 213 h 848"/>
                <a:gd name="T6" fmla="*/ 725 w 984"/>
                <a:gd name="T7" fmla="*/ 322 h 848"/>
                <a:gd name="T8" fmla="*/ 624 w 984"/>
                <a:gd name="T9" fmla="*/ 223 h 848"/>
                <a:gd name="T10" fmla="*/ 502 w 984"/>
                <a:gd name="T11" fmla="*/ 345 h 848"/>
                <a:gd name="T12" fmla="*/ 391 w 984"/>
                <a:gd name="T13" fmla="*/ 224 h 848"/>
                <a:gd name="T14" fmla="*/ 228 w 984"/>
                <a:gd name="T15" fmla="*/ 402 h 848"/>
                <a:gd name="T16" fmla="*/ 228 w 984"/>
                <a:gd name="T17" fmla="*/ 848 h 848"/>
                <a:gd name="T18" fmla="*/ 0 w 984"/>
                <a:gd name="T19" fmla="*/ 848 h 848"/>
                <a:gd name="T20" fmla="*/ 0 w 984"/>
                <a:gd name="T21" fmla="*/ 0 h 848"/>
                <a:gd name="T22" fmla="*/ 984 w 984"/>
                <a:gd name="T23" fmla="*/ 0 h 848"/>
                <a:gd name="T24" fmla="*/ 950 w 984"/>
                <a:gd name="T25" fmla="*/ 6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4" h="848">
                  <a:moveTo>
                    <a:pt x="950" y="64"/>
                  </a:moveTo>
                  <a:lnTo>
                    <a:pt x="950" y="306"/>
                  </a:lnTo>
                  <a:lnTo>
                    <a:pt x="847" y="213"/>
                  </a:lnTo>
                  <a:lnTo>
                    <a:pt x="725" y="322"/>
                  </a:lnTo>
                  <a:lnTo>
                    <a:pt x="624" y="223"/>
                  </a:lnTo>
                  <a:lnTo>
                    <a:pt x="502" y="345"/>
                  </a:lnTo>
                  <a:lnTo>
                    <a:pt x="391" y="224"/>
                  </a:lnTo>
                  <a:lnTo>
                    <a:pt x="228" y="402"/>
                  </a:lnTo>
                  <a:lnTo>
                    <a:pt x="228" y="848"/>
                  </a:lnTo>
                  <a:lnTo>
                    <a:pt x="0" y="848"/>
                  </a:lnTo>
                  <a:lnTo>
                    <a:pt x="0" y="0"/>
                  </a:lnTo>
                  <a:lnTo>
                    <a:pt x="984" y="0"/>
                  </a:lnTo>
                  <a:lnTo>
                    <a:pt x="950" y="64"/>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242" name="Freeform 285">
              <a:extLst>
                <a:ext uri="{FF2B5EF4-FFF2-40B4-BE49-F238E27FC236}">
                  <a16:creationId xmlns:a16="http://schemas.microsoft.com/office/drawing/2014/main" id="{579AC88F-284E-453D-B8E3-6E7F57998C80}"/>
                </a:ext>
              </a:extLst>
            </p:cNvPr>
            <p:cNvSpPr>
              <a:spLocks/>
            </p:cNvSpPr>
            <p:nvPr/>
          </p:nvSpPr>
          <p:spPr bwMode="auto">
            <a:xfrm>
              <a:off x="3733" y="764"/>
              <a:ext cx="13" cy="70"/>
            </a:xfrm>
            <a:custGeom>
              <a:avLst/>
              <a:gdLst>
                <a:gd name="T0" fmla="*/ 37 w 170"/>
                <a:gd name="T1" fmla="*/ 0 h 876"/>
                <a:gd name="T2" fmla="*/ 126 w 170"/>
                <a:gd name="T3" fmla="*/ 0 h 876"/>
                <a:gd name="T4" fmla="*/ 128 w 170"/>
                <a:gd name="T5" fmla="*/ 36 h 876"/>
                <a:gd name="T6" fmla="*/ 81 w 170"/>
                <a:gd name="T7" fmla="*/ 36 h 876"/>
                <a:gd name="T8" fmla="*/ 81 w 170"/>
                <a:gd name="T9" fmla="*/ 78 h 876"/>
                <a:gd name="T10" fmla="*/ 131 w 170"/>
                <a:gd name="T11" fmla="*/ 78 h 876"/>
                <a:gd name="T12" fmla="*/ 170 w 170"/>
                <a:gd name="T13" fmla="*/ 876 h 876"/>
                <a:gd name="T14" fmla="*/ 0 w 170"/>
                <a:gd name="T15" fmla="*/ 876 h 876"/>
                <a:gd name="T16" fmla="*/ 37 w 170"/>
                <a:gd name="T1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876">
                  <a:moveTo>
                    <a:pt x="37" y="0"/>
                  </a:moveTo>
                  <a:lnTo>
                    <a:pt x="126" y="0"/>
                  </a:lnTo>
                  <a:lnTo>
                    <a:pt x="128" y="36"/>
                  </a:lnTo>
                  <a:lnTo>
                    <a:pt x="81" y="36"/>
                  </a:lnTo>
                  <a:lnTo>
                    <a:pt x="81" y="78"/>
                  </a:lnTo>
                  <a:lnTo>
                    <a:pt x="131" y="78"/>
                  </a:lnTo>
                  <a:lnTo>
                    <a:pt x="170" y="876"/>
                  </a:lnTo>
                  <a:lnTo>
                    <a:pt x="0" y="876"/>
                  </a:lnTo>
                  <a:lnTo>
                    <a:pt x="37" y="0"/>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243" name="Freeform 286">
              <a:extLst>
                <a:ext uri="{FF2B5EF4-FFF2-40B4-BE49-F238E27FC236}">
                  <a16:creationId xmlns:a16="http://schemas.microsoft.com/office/drawing/2014/main" id="{1AEBBE92-C6E1-4291-A431-25F4D89AF63E}"/>
                </a:ext>
              </a:extLst>
            </p:cNvPr>
            <p:cNvSpPr>
              <a:spLocks/>
            </p:cNvSpPr>
            <p:nvPr/>
          </p:nvSpPr>
          <p:spPr bwMode="auto">
            <a:xfrm>
              <a:off x="3709" y="764"/>
              <a:ext cx="14" cy="70"/>
            </a:xfrm>
            <a:custGeom>
              <a:avLst/>
              <a:gdLst>
                <a:gd name="T0" fmla="*/ 37 w 171"/>
                <a:gd name="T1" fmla="*/ 0 h 876"/>
                <a:gd name="T2" fmla="*/ 126 w 171"/>
                <a:gd name="T3" fmla="*/ 0 h 876"/>
                <a:gd name="T4" fmla="*/ 128 w 171"/>
                <a:gd name="T5" fmla="*/ 42 h 876"/>
                <a:gd name="T6" fmla="*/ 86 w 171"/>
                <a:gd name="T7" fmla="*/ 42 h 876"/>
                <a:gd name="T8" fmla="*/ 86 w 171"/>
                <a:gd name="T9" fmla="*/ 83 h 876"/>
                <a:gd name="T10" fmla="*/ 130 w 171"/>
                <a:gd name="T11" fmla="*/ 83 h 876"/>
                <a:gd name="T12" fmla="*/ 171 w 171"/>
                <a:gd name="T13" fmla="*/ 876 h 876"/>
                <a:gd name="T14" fmla="*/ 0 w 171"/>
                <a:gd name="T15" fmla="*/ 876 h 876"/>
                <a:gd name="T16" fmla="*/ 37 w 171"/>
                <a:gd name="T1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876">
                  <a:moveTo>
                    <a:pt x="37" y="0"/>
                  </a:moveTo>
                  <a:lnTo>
                    <a:pt x="126" y="0"/>
                  </a:lnTo>
                  <a:lnTo>
                    <a:pt x="128" y="42"/>
                  </a:lnTo>
                  <a:lnTo>
                    <a:pt x="86" y="42"/>
                  </a:lnTo>
                  <a:lnTo>
                    <a:pt x="86" y="83"/>
                  </a:lnTo>
                  <a:lnTo>
                    <a:pt x="130" y="83"/>
                  </a:lnTo>
                  <a:lnTo>
                    <a:pt x="171" y="876"/>
                  </a:lnTo>
                  <a:lnTo>
                    <a:pt x="0" y="876"/>
                  </a:lnTo>
                  <a:lnTo>
                    <a:pt x="37" y="0"/>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244" name="Freeform 287">
              <a:extLst>
                <a:ext uri="{FF2B5EF4-FFF2-40B4-BE49-F238E27FC236}">
                  <a16:creationId xmlns:a16="http://schemas.microsoft.com/office/drawing/2014/main" id="{CB363F5A-C6B2-4F01-AF8A-5EEDF526ED5E}"/>
                </a:ext>
              </a:extLst>
            </p:cNvPr>
            <p:cNvSpPr>
              <a:spLocks/>
            </p:cNvSpPr>
            <p:nvPr/>
          </p:nvSpPr>
          <p:spPr bwMode="auto">
            <a:xfrm>
              <a:off x="3695" y="838"/>
              <a:ext cx="67" cy="38"/>
            </a:xfrm>
            <a:custGeom>
              <a:avLst/>
              <a:gdLst>
                <a:gd name="T0" fmla="*/ 0 w 843"/>
                <a:gd name="T1" fmla="*/ 0 h 475"/>
                <a:gd name="T2" fmla="*/ 843 w 843"/>
                <a:gd name="T3" fmla="*/ 0 h 475"/>
                <a:gd name="T4" fmla="*/ 843 w 843"/>
                <a:gd name="T5" fmla="*/ 97 h 475"/>
                <a:gd name="T6" fmla="*/ 752 w 843"/>
                <a:gd name="T7" fmla="*/ 97 h 475"/>
                <a:gd name="T8" fmla="*/ 752 w 843"/>
                <a:gd name="T9" fmla="*/ 139 h 475"/>
                <a:gd name="T10" fmla="*/ 843 w 843"/>
                <a:gd name="T11" fmla="*/ 139 h 475"/>
                <a:gd name="T12" fmla="*/ 843 w 843"/>
                <a:gd name="T13" fmla="*/ 212 h 475"/>
                <a:gd name="T14" fmla="*/ 752 w 843"/>
                <a:gd name="T15" fmla="*/ 212 h 475"/>
                <a:gd name="T16" fmla="*/ 752 w 843"/>
                <a:gd name="T17" fmla="*/ 254 h 475"/>
                <a:gd name="T18" fmla="*/ 843 w 843"/>
                <a:gd name="T19" fmla="*/ 254 h 475"/>
                <a:gd name="T20" fmla="*/ 843 w 843"/>
                <a:gd name="T21" fmla="*/ 329 h 475"/>
                <a:gd name="T22" fmla="*/ 752 w 843"/>
                <a:gd name="T23" fmla="*/ 329 h 475"/>
                <a:gd name="T24" fmla="*/ 752 w 843"/>
                <a:gd name="T25" fmla="*/ 369 h 475"/>
                <a:gd name="T26" fmla="*/ 843 w 843"/>
                <a:gd name="T27" fmla="*/ 369 h 475"/>
                <a:gd name="T28" fmla="*/ 843 w 843"/>
                <a:gd name="T29" fmla="*/ 475 h 475"/>
                <a:gd name="T30" fmla="*/ 39 w 843"/>
                <a:gd name="T31" fmla="*/ 475 h 475"/>
                <a:gd name="T32" fmla="*/ 39 w 843"/>
                <a:gd name="T33" fmla="*/ 73 h 475"/>
                <a:gd name="T34" fmla="*/ 0 w 843"/>
                <a:gd name="T35"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3" h="475">
                  <a:moveTo>
                    <a:pt x="0" y="0"/>
                  </a:moveTo>
                  <a:lnTo>
                    <a:pt x="843" y="0"/>
                  </a:lnTo>
                  <a:lnTo>
                    <a:pt x="843" y="97"/>
                  </a:lnTo>
                  <a:lnTo>
                    <a:pt x="752" y="97"/>
                  </a:lnTo>
                  <a:lnTo>
                    <a:pt x="752" y="139"/>
                  </a:lnTo>
                  <a:lnTo>
                    <a:pt x="843" y="139"/>
                  </a:lnTo>
                  <a:lnTo>
                    <a:pt x="843" y="212"/>
                  </a:lnTo>
                  <a:lnTo>
                    <a:pt x="752" y="212"/>
                  </a:lnTo>
                  <a:lnTo>
                    <a:pt x="752" y="254"/>
                  </a:lnTo>
                  <a:lnTo>
                    <a:pt x="843" y="254"/>
                  </a:lnTo>
                  <a:lnTo>
                    <a:pt x="843" y="329"/>
                  </a:lnTo>
                  <a:lnTo>
                    <a:pt x="752" y="329"/>
                  </a:lnTo>
                  <a:lnTo>
                    <a:pt x="752" y="369"/>
                  </a:lnTo>
                  <a:lnTo>
                    <a:pt x="843" y="369"/>
                  </a:lnTo>
                  <a:lnTo>
                    <a:pt x="843" y="475"/>
                  </a:lnTo>
                  <a:lnTo>
                    <a:pt x="39" y="475"/>
                  </a:lnTo>
                  <a:lnTo>
                    <a:pt x="39" y="73"/>
                  </a:lnTo>
                  <a:lnTo>
                    <a:pt x="0" y="0"/>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245" name="Rectangle 288">
              <a:extLst>
                <a:ext uri="{FF2B5EF4-FFF2-40B4-BE49-F238E27FC236}">
                  <a16:creationId xmlns:a16="http://schemas.microsoft.com/office/drawing/2014/main" id="{39F3B67C-763A-4F9A-B34A-B8B52F82166A}"/>
                </a:ext>
              </a:extLst>
            </p:cNvPr>
            <p:cNvSpPr>
              <a:spLocks noChangeArrowheads="1"/>
            </p:cNvSpPr>
            <p:nvPr/>
          </p:nvSpPr>
          <p:spPr bwMode="auto">
            <a:xfrm>
              <a:off x="3772"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46" name="Rectangle 289">
              <a:extLst>
                <a:ext uri="{FF2B5EF4-FFF2-40B4-BE49-F238E27FC236}">
                  <a16:creationId xmlns:a16="http://schemas.microsoft.com/office/drawing/2014/main" id="{EADB4062-FB0B-4BC8-864D-13F09EDB9043}"/>
                </a:ext>
              </a:extLst>
            </p:cNvPr>
            <p:cNvSpPr>
              <a:spLocks noChangeArrowheads="1"/>
            </p:cNvSpPr>
            <p:nvPr/>
          </p:nvSpPr>
          <p:spPr bwMode="auto">
            <a:xfrm>
              <a:off x="3785"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47" name="Rectangle 290">
              <a:extLst>
                <a:ext uri="{FF2B5EF4-FFF2-40B4-BE49-F238E27FC236}">
                  <a16:creationId xmlns:a16="http://schemas.microsoft.com/office/drawing/2014/main" id="{D0C01408-6B77-43DB-9FD1-47E44A0E910D}"/>
                </a:ext>
              </a:extLst>
            </p:cNvPr>
            <p:cNvSpPr>
              <a:spLocks noChangeArrowheads="1"/>
            </p:cNvSpPr>
            <p:nvPr/>
          </p:nvSpPr>
          <p:spPr bwMode="auto">
            <a:xfrm>
              <a:off x="3798"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48" name="Rectangle 291">
              <a:extLst>
                <a:ext uri="{FF2B5EF4-FFF2-40B4-BE49-F238E27FC236}">
                  <a16:creationId xmlns:a16="http://schemas.microsoft.com/office/drawing/2014/main" id="{67E6ABD7-07A3-44B2-87EE-3CBAF881BEA1}"/>
                </a:ext>
              </a:extLst>
            </p:cNvPr>
            <p:cNvSpPr>
              <a:spLocks noChangeArrowheads="1"/>
            </p:cNvSpPr>
            <p:nvPr/>
          </p:nvSpPr>
          <p:spPr bwMode="auto">
            <a:xfrm>
              <a:off x="3811" y="813"/>
              <a:ext cx="7"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49" name="Rectangle 292">
              <a:extLst>
                <a:ext uri="{FF2B5EF4-FFF2-40B4-BE49-F238E27FC236}">
                  <a16:creationId xmlns:a16="http://schemas.microsoft.com/office/drawing/2014/main" id="{1BF37455-E12B-4B0F-A1B8-C8FBA083AD73}"/>
                </a:ext>
              </a:extLst>
            </p:cNvPr>
            <p:cNvSpPr>
              <a:spLocks noChangeArrowheads="1"/>
            </p:cNvSpPr>
            <p:nvPr/>
          </p:nvSpPr>
          <p:spPr bwMode="auto">
            <a:xfrm>
              <a:off x="3823"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50" name="Rectangle 293">
              <a:extLst>
                <a:ext uri="{FF2B5EF4-FFF2-40B4-BE49-F238E27FC236}">
                  <a16:creationId xmlns:a16="http://schemas.microsoft.com/office/drawing/2014/main" id="{0B402A7A-6A11-48C2-8ED7-10D596E4D67D}"/>
                </a:ext>
              </a:extLst>
            </p:cNvPr>
            <p:cNvSpPr>
              <a:spLocks noChangeArrowheads="1"/>
            </p:cNvSpPr>
            <p:nvPr/>
          </p:nvSpPr>
          <p:spPr bwMode="auto">
            <a:xfrm>
              <a:off x="3703"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51" name="Rectangle 294">
              <a:extLst>
                <a:ext uri="{FF2B5EF4-FFF2-40B4-BE49-F238E27FC236}">
                  <a16:creationId xmlns:a16="http://schemas.microsoft.com/office/drawing/2014/main" id="{13D644DF-849B-4E21-8C41-EF0D26E6FEBD}"/>
                </a:ext>
              </a:extLst>
            </p:cNvPr>
            <p:cNvSpPr>
              <a:spLocks noChangeArrowheads="1"/>
            </p:cNvSpPr>
            <p:nvPr/>
          </p:nvSpPr>
          <p:spPr bwMode="auto">
            <a:xfrm>
              <a:off x="3716"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52" name="Rectangle 295">
              <a:extLst>
                <a:ext uri="{FF2B5EF4-FFF2-40B4-BE49-F238E27FC236}">
                  <a16:creationId xmlns:a16="http://schemas.microsoft.com/office/drawing/2014/main" id="{8C4416FB-5E08-4E0A-AE8E-7441030D3778}"/>
                </a:ext>
              </a:extLst>
            </p:cNvPr>
            <p:cNvSpPr>
              <a:spLocks noChangeArrowheads="1"/>
            </p:cNvSpPr>
            <p:nvPr/>
          </p:nvSpPr>
          <p:spPr bwMode="auto">
            <a:xfrm>
              <a:off x="3729"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53" name="Rectangle 296">
              <a:extLst>
                <a:ext uri="{FF2B5EF4-FFF2-40B4-BE49-F238E27FC236}">
                  <a16:creationId xmlns:a16="http://schemas.microsoft.com/office/drawing/2014/main" id="{5F23CD57-7604-4A1B-B628-462C7A319180}"/>
                </a:ext>
              </a:extLst>
            </p:cNvPr>
            <p:cNvSpPr>
              <a:spLocks noChangeArrowheads="1"/>
            </p:cNvSpPr>
            <p:nvPr/>
          </p:nvSpPr>
          <p:spPr bwMode="auto">
            <a:xfrm>
              <a:off x="3742"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54" name="Rectangle 297">
              <a:extLst>
                <a:ext uri="{FF2B5EF4-FFF2-40B4-BE49-F238E27FC236}">
                  <a16:creationId xmlns:a16="http://schemas.microsoft.com/office/drawing/2014/main" id="{0483BFA9-4583-4004-9F06-4F1A30E04184}"/>
                </a:ext>
              </a:extLst>
            </p:cNvPr>
            <p:cNvSpPr>
              <a:spLocks noChangeArrowheads="1"/>
            </p:cNvSpPr>
            <p:nvPr/>
          </p:nvSpPr>
          <p:spPr bwMode="auto">
            <a:xfrm>
              <a:off x="3703"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55" name="Rectangle 298">
              <a:extLst>
                <a:ext uri="{FF2B5EF4-FFF2-40B4-BE49-F238E27FC236}">
                  <a16:creationId xmlns:a16="http://schemas.microsoft.com/office/drawing/2014/main" id="{5F5089D7-1A43-462E-AD8D-D84C192F6AB1}"/>
                </a:ext>
              </a:extLst>
            </p:cNvPr>
            <p:cNvSpPr>
              <a:spLocks noChangeArrowheads="1"/>
            </p:cNvSpPr>
            <p:nvPr/>
          </p:nvSpPr>
          <p:spPr bwMode="auto">
            <a:xfrm>
              <a:off x="3716"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56" name="Rectangle 299">
              <a:extLst>
                <a:ext uri="{FF2B5EF4-FFF2-40B4-BE49-F238E27FC236}">
                  <a16:creationId xmlns:a16="http://schemas.microsoft.com/office/drawing/2014/main" id="{B9E23FA0-C19F-4319-9518-CEF5F072AE54}"/>
                </a:ext>
              </a:extLst>
            </p:cNvPr>
            <p:cNvSpPr>
              <a:spLocks noChangeArrowheads="1"/>
            </p:cNvSpPr>
            <p:nvPr/>
          </p:nvSpPr>
          <p:spPr bwMode="auto">
            <a:xfrm>
              <a:off x="3729"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57" name="Rectangle 300">
              <a:extLst>
                <a:ext uri="{FF2B5EF4-FFF2-40B4-BE49-F238E27FC236}">
                  <a16:creationId xmlns:a16="http://schemas.microsoft.com/office/drawing/2014/main" id="{F40EDE63-0DC5-45F7-9C52-A5C474697A9F}"/>
                </a:ext>
              </a:extLst>
            </p:cNvPr>
            <p:cNvSpPr>
              <a:spLocks noChangeArrowheads="1"/>
            </p:cNvSpPr>
            <p:nvPr/>
          </p:nvSpPr>
          <p:spPr bwMode="auto">
            <a:xfrm>
              <a:off x="3742"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58" name="Rectangle 301">
              <a:extLst>
                <a:ext uri="{FF2B5EF4-FFF2-40B4-BE49-F238E27FC236}">
                  <a16:creationId xmlns:a16="http://schemas.microsoft.com/office/drawing/2014/main" id="{2EDE9C8D-E4AD-4C16-A7D5-99E3C0DB2DC7}"/>
                </a:ext>
              </a:extLst>
            </p:cNvPr>
            <p:cNvSpPr>
              <a:spLocks noChangeArrowheads="1"/>
            </p:cNvSpPr>
            <p:nvPr/>
          </p:nvSpPr>
          <p:spPr bwMode="auto">
            <a:xfrm>
              <a:off x="3703"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59" name="Rectangle 302">
              <a:extLst>
                <a:ext uri="{FF2B5EF4-FFF2-40B4-BE49-F238E27FC236}">
                  <a16:creationId xmlns:a16="http://schemas.microsoft.com/office/drawing/2014/main" id="{8F64DC7F-8940-495B-9FD8-534E6DCE1BC0}"/>
                </a:ext>
              </a:extLst>
            </p:cNvPr>
            <p:cNvSpPr>
              <a:spLocks noChangeArrowheads="1"/>
            </p:cNvSpPr>
            <p:nvPr/>
          </p:nvSpPr>
          <p:spPr bwMode="auto">
            <a:xfrm>
              <a:off x="3716"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60" name="Rectangle 303">
              <a:extLst>
                <a:ext uri="{FF2B5EF4-FFF2-40B4-BE49-F238E27FC236}">
                  <a16:creationId xmlns:a16="http://schemas.microsoft.com/office/drawing/2014/main" id="{BCA740BD-97D5-4A25-8FC7-9788F04CC49E}"/>
                </a:ext>
              </a:extLst>
            </p:cNvPr>
            <p:cNvSpPr>
              <a:spLocks noChangeArrowheads="1"/>
            </p:cNvSpPr>
            <p:nvPr/>
          </p:nvSpPr>
          <p:spPr bwMode="auto">
            <a:xfrm>
              <a:off x="3729"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61" name="Rectangle 304">
              <a:extLst>
                <a:ext uri="{FF2B5EF4-FFF2-40B4-BE49-F238E27FC236}">
                  <a16:creationId xmlns:a16="http://schemas.microsoft.com/office/drawing/2014/main" id="{E64AD2AF-574E-49FC-A81D-A8D2434F9D2D}"/>
                </a:ext>
              </a:extLst>
            </p:cNvPr>
            <p:cNvSpPr>
              <a:spLocks noChangeArrowheads="1"/>
            </p:cNvSpPr>
            <p:nvPr/>
          </p:nvSpPr>
          <p:spPr bwMode="auto">
            <a:xfrm>
              <a:off x="3742"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grpSp>
      <p:grpSp>
        <p:nvGrpSpPr>
          <p:cNvPr id="262" name="Group 305">
            <a:extLst>
              <a:ext uri="{FF2B5EF4-FFF2-40B4-BE49-F238E27FC236}">
                <a16:creationId xmlns:a16="http://schemas.microsoft.com/office/drawing/2014/main" id="{8828E47F-0B17-46FB-BF80-E95720A224E4}"/>
              </a:ext>
            </a:extLst>
          </p:cNvPr>
          <p:cNvGrpSpPr>
            <a:grpSpLocks/>
          </p:cNvGrpSpPr>
          <p:nvPr/>
        </p:nvGrpSpPr>
        <p:grpSpPr bwMode="auto">
          <a:xfrm>
            <a:off x="9256607" y="2234366"/>
            <a:ext cx="211131" cy="142871"/>
            <a:chOff x="3689" y="761"/>
            <a:chExt cx="175" cy="118"/>
          </a:xfrm>
        </p:grpSpPr>
        <p:sp>
          <p:nvSpPr>
            <p:cNvPr id="263" name="Freeform 306">
              <a:extLst>
                <a:ext uri="{FF2B5EF4-FFF2-40B4-BE49-F238E27FC236}">
                  <a16:creationId xmlns:a16="http://schemas.microsoft.com/office/drawing/2014/main" id="{01A6D507-BB05-47B5-AFD3-4E5060FB5631}"/>
                </a:ext>
              </a:extLst>
            </p:cNvPr>
            <p:cNvSpPr>
              <a:spLocks/>
            </p:cNvSpPr>
            <p:nvPr/>
          </p:nvSpPr>
          <p:spPr bwMode="auto">
            <a:xfrm>
              <a:off x="3689" y="761"/>
              <a:ext cx="175" cy="118"/>
            </a:xfrm>
            <a:custGeom>
              <a:avLst/>
              <a:gdLst>
                <a:gd name="T0" fmla="*/ 2042 w 2187"/>
                <a:gd name="T1" fmla="*/ 797 h 1474"/>
                <a:gd name="T2" fmla="*/ 1945 w 2187"/>
                <a:gd name="T3" fmla="*/ 894 h 1474"/>
                <a:gd name="T4" fmla="*/ 1945 w 2187"/>
                <a:gd name="T5" fmla="*/ 658 h 1474"/>
                <a:gd name="T6" fmla="*/ 2005 w 2187"/>
                <a:gd name="T7" fmla="*/ 543 h 1474"/>
                <a:gd name="T8" fmla="*/ 912 w 2187"/>
                <a:gd name="T9" fmla="*/ 543 h 1474"/>
                <a:gd name="T10" fmla="*/ 912 w 2187"/>
                <a:gd name="T11" fmla="*/ 916 h 1474"/>
                <a:gd name="T12" fmla="*/ 755 w 2187"/>
                <a:gd name="T13" fmla="*/ 916 h 1474"/>
                <a:gd name="T14" fmla="*/ 708 w 2187"/>
                <a:gd name="T15" fmla="*/ 0 h 1474"/>
                <a:gd name="T16" fmla="*/ 541 w 2187"/>
                <a:gd name="T17" fmla="*/ 0 h 1474"/>
                <a:gd name="T18" fmla="*/ 503 w 2187"/>
                <a:gd name="T19" fmla="*/ 916 h 1474"/>
                <a:gd name="T20" fmla="*/ 466 w 2187"/>
                <a:gd name="T21" fmla="*/ 916 h 1474"/>
                <a:gd name="T22" fmla="*/ 419 w 2187"/>
                <a:gd name="T23" fmla="*/ 0 h 1474"/>
                <a:gd name="T24" fmla="*/ 251 w 2187"/>
                <a:gd name="T25" fmla="*/ 0 h 1474"/>
                <a:gd name="T26" fmla="*/ 213 w 2187"/>
                <a:gd name="T27" fmla="*/ 916 h 1474"/>
                <a:gd name="T28" fmla="*/ 0 w 2187"/>
                <a:gd name="T29" fmla="*/ 916 h 1474"/>
                <a:gd name="T30" fmla="*/ 67 w 2187"/>
                <a:gd name="T31" fmla="*/ 1040 h 1474"/>
                <a:gd name="T32" fmla="*/ 67 w 2187"/>
                <a:gd name="T33" fmla="*/ 1474 h 1474"/>
                <a:gd name="T34" fmla="*/ 2187 w 2187"/>
                <a:gd name="T35" fmla="*/ 1474 h 1474"/>
                <a:gd name="T36" fmla="*/ 2187 w 2187"/>
                <a:gd name="T37" fmla="*/ 953 h 1474"/>
                <a:gd name="T38" fmla="*/ 2042 w 2187"/>
                <a:gd name="T39" fmla="*/ 797 h 1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87" h="1474">
                  <a:moveTo>
                    <a:pt x="2042" y="797"/>
                  </a:moveTo>
                  <a:lnTo>
                    <a:pt x="1945" y="894"/>
                  </a:lnTo>
                  <a:lnTo>
                    <a:pt x="1945" y="658"/>
                  </a:lnTo>
                  <a:lnTo>
                    <a:pt x="2005" y="543"/>
                  </a:lnTo>
                  <a:lnTo>
                    <a:pt x="912" y="543"/>
                  </a:lnTo>
                  <a:lnTo>
                    <a:pt x="912" y="916"/>
                  </a:lnTo>
                  <a:lnTo>
                    <a:pt x="755" y="916"/>
                  </a:lnTo>
                  <a:lnTo>
                    <a:pt x="708" y="0"/>
                  </a:lnTo>
                  <a:lnTo>
                    <a:pt x="541" y="0"/>
                  </a:lnTo>
                  <a:lnTo>
                    <a:pt x="503" y="916"/>
                  </a:lnTo>
                  <a:lnTo>
                    <a:pt x="466" y="916"/>
                  </a:lnTo>
                  <a:lnTo>
                    <a:pt x="419" y="0"/>
                  </a:lnTo>
                  <a:lnTo>
                    <a:pt x="251" y="0"/>
                  </a:lnTo>
                  <a:lnTo>
                    <a:pt x="213" y="916"/>
                  </a:lnTo>
                  <a:lnTo>
                    <a:pt x="0" y="916"/>
                  </a:lnTo>
                  <a:lnTo>
                    <a:pt x="67" y="1040"/>
                  </a:lnTo>
                  <a:lnTo>
                    <a:pt x="67" y="1474"/>
                  </a:lnTo>
                  <a:lnTo>
                    <a:pt x="2187" y="1474"/>
                  </a:lnTo>
                  <a:lnTo>
                    <a:pt x="2187" y="953"/>
                  </a:lnTo>
                  <a:lnTo>
                    <a:pt x="2042" y="797"/>
                  </a:lnTo>
                  <a:close/>
                </a:path>
              </a:pathLst>
            </a:custGeom>
            <a:solidFill>
              <a:srgbClr val="000000"/>
            </a:solidFill>
            <a:ln w="3175" cmpd="sng">
              <a:solidFill>
                <a:srgbClr val="FB0129"/>
              </a:solidFill>
              <a:round/>
              <a:headEnd/>
              <a:tailEnd/>
            </a:ln>
          </p:spPr>
          <p:txBody>
            <a:bodyPr/>
            <a:lstStyle/>
            <a:p>
              <a:pPr defTabSz="609539"/>
              <a:endParaRPr lang="en-US" sz="2399">
                <a:solidFill>
                  <a:srgbClr val="000000"/>
                </a:solidFill>
              </a:endParaRPr>
            </a:p>
          </p:txBody>
        </p:sp>
        <p:sp>
          <p:nvSpPr>
            <p:cNvPr id="264" name="Freeform 307">
              <a:extLst>
                <a:ext uri="{FF2B5EF4-FFF2-40B4-BE49-F238E27FC236}">
                  <a16:creationId xmlns:a16="http://schemas.microsoft.com/office/drawing/2014/main" id="{88F574EC-5FAD-4785-8469-F5941F4462B8}"/>
                </a:ext>
              </a:extLst>
            </p:cNvPr>
            <p:cNvSpPr>
              <a:spLocks/>
            </p:cNvSpPr>
            <p:nvPr/>
          </p:nvSpPr>
          <p:spPr bwMode="auto">
            <a:xfrm>
              <a:off x="3787" y="829"/>
              <a:ext cx="74" cy="47"/>
            </a:xfrm>
            <a:custGeom>
              <a:avLst/>
              <a:gdLst>
                <a:gd name="T0" fmla="*/ 923 w 923"/>
                <a:gd name="T1" fmla="*/ 116 h 579"/>
                <a:gd name="T2" fmla="*/ 923 w 923"/>
                <a:gd name="T3" fmla="*/ 366 h 579"/>
                <a:gd name="T4" fmla="*/ 473 w 923"/>
                <a:gd name="T5" fmla="*/ 366 h 579"/>
                <a:gd name="T6" fmla="*/ 473 w 923"/>
                <a:gd name="T7" fmla="*/ 579 h 579"/>
                <a:gd name="T8" fmla="*/ 0 w 923"/>
                <a:gd name="T9" fmla="*/ 579 h 579"/>
                <a:gd name="T10" fmla="*/ 0 w 923"/>
                <a:gd name="T11" fmla="*/ 149 h 579"/>
                <a:gd name="T12" fmla="*/ 122 w 923"/>
                <a:gd name="T13" fmla="*/ 16 h 579"/>
                <a:gd name="T14" fmla="*/ 232 w 923"/>
                <a:gd name="T15" fmla="*/ 136 h 579"/>
                <a:gd name="T16" fmla="*/ 355 w 923"/>
                <a:gd name="T17" fmla="*/ 11 h 579"/>
                <a:gd name="T18" fmla="*/ 453 w 923"/>
                <a:gd name="T19" fmla="*/ 109 h 579"/>
                <a:gd name="T20" fmla="*/ 578 w 923"/>
                <a:gd name="T21" fmla="*/ 0 h 579"/>
                <a:gd name="T22" fmla="*/ 708 w 923"/>
                <a:gd name="T23" fmla="*/ 115 h 579"/>
                <a:gd name="T24" fmla="*/ 818 w 923"/>
                <a:gd name="T25" fmla="*/ 3 h 579"/>
                <a:gd name="T26" fmla="*/ 923 w 923"/>
                <a:gd name="T27" fmla="*/ 116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3" h="579">
                  <a:moveTo>
                    <a:pt x="923" y="116"/>
                  </a:moveTo>
                  <a:lnTo>
                    <a:pt x="923" y="366"/>
                  </a:lnTo>
                  <a:lnTo>
                    <a:pt x="473" y="366"/>
                  </a:lnTo>
                  <a:lnTo>
                    <a:pt x="473" y="579"/>
                  </a:lnTo>
                  <a:lnTo>
                    <a:pt x="0" y="579"/>
                  </a:lnTo>
                  <a:lnTo>
                    <a:pt x="0" y="149"/>
                  </a:lnTo>
                  <a:lnTo>
                    <a:pt x="122" y="16"/>
                  </a:lnTo>
                  <a:lnTo>
                    <a:pt x="232" y="136"/>
                  </a:lnTo>
                  <a:lnTo>
                    <a:pt x="355" y="11"/>
                  </a:lnTo>
                  <a:lnTo>
                    <a:pt x="453" y="109"/>
                  </a:lnTo>
                  <a:lnTo>
                    <a:pt x="578" y="0"/>
                  </a:lnTo>
                  <a:lnTo>
                    <a:pt x="708" y="115"/>
                  </a:lnTo>
                  <a:lnTo>
                    <a:pt x="818" y="3"/>
                  </a:lnTo>
                  <a:lnTo>
                    <a:pt x="923" y="116"/>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265" name="Rectangle 308">
              <a:extLst>
                <a:ext uri="{FF2B5EF4-FFF2-40B4-BE49-F238E27FC236}">
                  <a16:creationId xmlns:a16="http://schemas.microsoft.com/office/drawing/2014/main" id="{71F17EEF-E451-4E43-BD4B-AEEF53A72DC5}"/>
                </a:ext>
              </a:extLst>
            </p:cNvPr>
            <p:cNvSpPr>
              <a:spLocks noChangeArrowheads="1"/>
            </p:cNvSpPr>
            <p:nvPr/>
          </p:nvSpPr>
          <p:spPr bwMode="auto">
            <a:xfrm>
              <a:off x="3828" y="862"/>
              <a:ext cx="10" cy="14"/>
            </a:xfrm>
            <a:prstGeom prst="rect">
              <a:avLst/>
            </a:prstGeom>
            <a:solidFill>
              <a:srgbClr val="FFFFFF"/>
            </a:solidFill>
            <a:ln w="3175">
              <a:solidFill>
                <a:srgbClr val="FB0129"/>
              </a:solidFill>
              <a:miter lim="800000"/>
              <a:headEnd/>
              <a:tailEnd/>
            </a:ln>
          </p:spPr>
          <p:txBody>
            <a:bodyPr/>
            <a:lstStyle/>
            <a:p>
              <a:pPr defTabSz="609539"/>
              <a:endParaRPr lang="en-US" sz="2399">
                <a:solidFill>
                  <a:srgbClr val="000000"/>
                </a:solidFill>
              </a:endParaRPr>
            </a:p>
          </p:txBody>
        </p:sp>
        <p:sp>
          <p:nvSpPr>
            <p:cNvPr id="266" name="Rectangle 309">
              <a:extLst>
                <a:ext uri="{FF2B5EF4-FFF2-40B4-BE49-F238E27FC236}">
                  <a16:creationId xmlns:a16="http://schemas.microsoft.com/office/drawing/2014/main" id="{3B7D6917-DC8F-477F-BF53-9781D353FF3A}"/>
                </a:ext>
              </a:extLst>
            </p:cNvPr>
            <p:cNvSpPr>
              <a:spLocks noChangeArrowheads="1"/>
            </p:cNvSpPr>
            <p:nvPr/>
          </p:nvSpPr>
          <p:spPr bwMode="auto">
            <a:xfrm>
              <a:off x="3841" y="862"/>
              <a:ext cx="9" cy="14"/>
            </a:xfrm>
            <a:prstGeom prst="rect">
              <a:avLst/>
            </a:prstGeom>
            <a:solidFill>
              <a:srgbClr val="FFFFFF"/>
            </a:solidFill>
            <a:ln w="3175">
              <a:solidFill>
                <a:srgbClr val="FB0129"/>
              </a:solidFill>
              <a:miter lim="800000"/>
              <a:headEnd/>
              <a:tailEnd/>
            </a:ln>
          </p:spPr>
          <p:txBody>
            <a:bodyPr/>
            <a:lstStyle/>
            <a:p>
              <a:pPr defTabSz="609539"/>
              <a:endParaRPr lang="en-US" sz="2399">
                <a:solidFill>
                  <a:srgbClr val="000000"/>
                </a:solidFill>
              </a:endParaRPr>
            </a:p>
          </p:txBody>
        </p:sp>
        <p:sp>
          <p:nvSpPr>
            <p:cNvPr id="267" name="Rectangle 310">
              <a:extLst>
                <a:ext uri="{FF2B5EF4-FFF2-40B4-BE49-F238E27FC236}">
                  <a16:creationId xmlns:a16="http://schemas.microsoft.com/office/drawing/2014/main" id="{51386E54-430B-424D-891B-0AB99C2B12DE}"/>
                </a:ext>
              </a:extLst>
            </p:cNvPr>
            <p:cNvSpPr>
              <a:spLocks noChangeArrowheads="1"/>
            </p:cNvSpPr>
            <p:nvPr/>
          </p:nvSpPr>
          <p:spPr bwMode="auto">
            <a:xfrm>
              <a:off x="3853" y="862"/>
              <a:ext cx="8" cy="14"/>
            </a:xfrm>
            <a:prstGeom prst="rect">
              <a:avLst/>
            </a:prstGeom>
            <a:solidFill>
              <a:srgbClr val="FFFFFF"/>
            </a:solidFill>
            <a:ln w="3175">
              <a:solidFill>
                <a:srgbClr val="FB0129"/>
              </a:solidFill>
              <a:miter lim="800000"/>
              <a:headEnd/>
              <a:tailEnd/>
            </a:ln>
          </p:spPr>
          <p:txBody>
            <a:bodyPr/>
            <a:lstStyle/>
            <a:p>
              <a:pPr defTabSz="609539"/>
              <a:endParaRPr lang="en-US" sz="2399">
                <a:solidFill>
                  <a:srgbClr val="000000"/>
                </a:solidFill>
              </a:endParaRPr>
            </a:p>
          </p:txBody>
        </p:sp>
        <p:sp>
          <p:nvSpPr>
            <p:cNvPr id="268" name="Freeform 311">
              <a:extLst>
                <a:ext uri="{FF2B5EF4-FFF2-40B4-BE49-F238E27FC236}">
                  <a16:creationId xmlns:a16="http://schemas.microsoft.com/office/drawing/2014/main" id="{0CF9F473-86C2-4551-8008-B1AC36CCFDDA}"/>
                </a:ext>
              </a:extLst>
            </p:cNvPr>
            <p:cNvSpPr>
              <a:spLocks/>
            </p:cNvSpPr>
            <p:nvPr/>
          </p:nvSpPr>
          <p:spPr bwMode="auto">
            <a:xfrm>
              <a:off x="3765" y="808"/>
              <a:ext cx="79" cy="68"/>
            </a:xfrm>
            <a:custGeom>
              <a:avLst/>
              <a:gdLst>
                <a:gd name="T0" fmla="*/ 950 w 984"/>
                <a:gd name="T1" fmla="*/ 64 h 848"/>
                <a:gd name="T2" fmla="*/ 950 w 984"/>
                <a:gd name="T3" fmla="*/ 306 h 848"/>
                <a:gd name="T4" fmla="*/ 847 w 984"/>
                <a:gd name="T5" fmla="*/ 213 h 848"/>
                <a:gd name="T6" fmla="*/ 725 w 984"/>
                <a:gd name="T7" fmla="*/ 322 h 848"/>
                <a:gd name="T8" fmla="*/ 624 w 984"/>
                <a:gd name="T9" fmla="*/ 223 h 848"/>
                <a:gd name="T10" fmla="*/ 502 w 984"/>
                <a:gd name="T11" fmla="*/ 345 h 848"/>
                <a:gd name="T12" fmla="*/ 391 w 984"/>
                <a:gd name="T13" fmla="*/ 224 h 848"/>
                <a:gd name="T14" fmla="*/ 228 w 984"/>
                <a:gd name="T15" fmla="*/ 402 h 848"/>
                <a:gd name="T16" fmla="*/ 228 w 984"/>
                <a:gd name="T17" fmla="*/ 848 h 848"/>
                <a:gd name="T18" fmla="*/ 0 w 984"/>
                <a:gd name="T19" fmla="*/ 848 h 848"/>
                <a:gd name="T20" fmla="*/ 0 w 984"/>
                <a:gd name="T21" fmla="*/ 0 h 848"/>
                <a:gd name="T22" fmla="*/ 984 w 984"/>
                <a:gd name="T23" fmla="*/ 0 h 848"/>
                <a:gd name="T24" fmla="*/ 950 w 984"/>
                <a:gd name="T25" fmla="*/ 6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4" h="848">
                  <a:moveTo>
                    <a:pt x="950" y="64"/>
                  </a:moveTo>
                  <a:lnTo>
                    <a:pt x="950" y="306"/>
                  </a:lnTo>
                  <a:lnTo>
                    <a:pt x="847" y="213"/>
                  </a:lnTo>
                  <a:lnTo>
                    <a:pt x="725" y="322"/>
                  </a:lnTo>
                  <a:lnTo>
                    <a:pt x="624" y="223"/>
                  </a:lnTo>
                  <a:lnTo>
                    <a:pt x="502" y="345"/>
                  </a:lnTo>
                  <a:lnTo>
                    <a:pt x="391" y="224"/>
                  </a:lnTo>
                  <a:lnTo>
                    <a:pt x="228" y="402"/>
                  </a:lnTo>
                  <a:lnTo>
                    <a:pt x="228" y="848"/>
                  </a:lnTo>
                  <a:lnTo>
                    <a:pt x="0" y="848"/>
                  </a:lnTo>
                  <a:lnTo>
                    <a:pt x="0" y="0"/>
                  </a:lnTo>
                  <a:lnTo>
                    <a:pt x="984" y="0"/>
                  </a:lnTo>
                  <a:lnTo>
                    <a:pt x="950" y="64"/>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269" name="Freeform 312">
              <a:extLst>
                <a:ext uri="{FF2B5EF4-FFF2-40B4-BE49-F238E27FC236}">
                  <a16:creationId xmlns:a16="http://schemas.microsoft.com/office/drawing/2014/main" id="{6C41421F-5A97-45CF-8D19-10A4BE94670B}"/>
                </a:ext>
              </a:extLst>
            </p:cNvPr>
            <p:cNvSpPr>
              <a:spLocks/>
            </p:cNvSpPr>
            <p:nvPr/>
          </p:nvSpPr>
          <p:spPr bwMode="auto">
            <a:xfrm>
              <a:off x="3733" y="764"/>
              <a:ext cx="13" cy="70"/>
            </a:xfrm>
            <a:custGeom>
              <a:avLst/>
              <a:gdLst>
                <a:gd name="T0" fmla="*/ 37 w 170"/>
                <a:gd name="T1" fmla="*/ 0 h 876"/>
                <a:gd name="T2" fmla="*/ 126 w 170"/>
                <a:gd name="T3" fmla="*/ 0 h 876"/>
                <a:gd name="T4" fmla="*/ 128 w 170"/>
                <a:gd name="T5" fmla="*/ 36 h 876"/>
                <a:gd name="T6" fmla="*/ 81 w 170"/>
                <a:gd name="T7" fmla="*/ 36 h 876"/>
                <a:gd name="T8" fmla="*/ 81 w 170"/>
                <a:gd name="T9" fmla="*/ 78 h 876"/>
                <a:gd name="T10" fmla="*/ 131 w 170"/>
                <a:gd name="T11" fmla="*/ 78 h 876"/>
                <a:gd name="T12" fmla="*/ 170 w 170"/>
                <a:gd name="T13" fmla="*/ 876 h 876"/>
                <a:gd name="T14" fmla="*/ 0 w 170"/>
                <a:gd name="T15" fmla="*/ 876 h 876"/>
                <a:gd name="T16" fmla="*/ 37 w 170"/>
                <a:gd name="T1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876">
                  <a:moveTo>
                    <a:pt x="37" y="0"/>
                  </a:moveTo>
                  <a:lnTo>
                    <a:pt x="126" y="0"/>
                  </a:lnTo>
                  <a:lnTo>
                    <a:pt x="128" y="36"/>
                  </a:lnTo>
                  <a:lnTo>
                    <a:pt x="81" y="36"/>
                  </a:lnTo>
                  <a:lnTo>
                    <a:pt x="81" y="78"/>
                  </a:lnTo>
                  <a:lnTo>
                    <a:pt x="131" y="78"/>
                  </a:lnTo>
                  <a:lnTo>
                    <a:pt x="170" y="876"/>
                  </a:lnTo>
                  <a:lnTo>
                    <a:pt x="0" y="876"/>
                  </a:lnTo>
                  <a:lnTo>
                    <a:pt x="37" y="0"/>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270" name="Freeform 313">
              <a:extLst>
                <a:ext uri="{FF2B5EF4-FFF2-40B4-BE49-F238E27FC236}">
                  <a16:creationId xmlns:a16="http://schemas.microsoft.com/office/drawing/2014/main" id="{AF6CD60F-5BBA-41A7-8288-DA916EFBD5D4}"/>
                </a:ext>
              </a:extLst>
            </p:cNvPr>
            <p:cNvSpPr>
              <a:spLocks/>
            </p:cNvSpPr>
            <p:nvPr/>
          </p:nvSpPr>
          <p:spPr bwMode="auto">
            <a:xfrm>
              <a:off x="3709" y="764"/>
              <a:ext cx="14" cy="70"/>
            </a:xfrm>
            <a:custGeom>
              <a:avLst/>
              <a:gdLst>
                <a:gd name="T0" fmla="*/ 37 w 171"/>
                <a:gd name="T1" fmla="*/ 0 h 876"/>
                <a:gd name="T2" fmla="*/ 126 w 171"/>
                <a:gd name="T3" fmla="*/ 0 h 876"/>
                <a:gd name="T4" fmla="*/ 128 w 171"/>
                <a:gd name="T5" fmla="*/ 42 h 876"/>
                <a:gd name="T6" fmla="*/ 86 w 171"/>
                <a:gd name="T7" fmla="*/ 42 h 876"/>
                <a:gd name="T8" fmla="*/ 86 w 171"/>
                <a:gd name="T9" fmla="*/ 83 h 876"/>
                <a:gd name="T10" fmla="*/ 130 w 171"/>
                <a:gd name="T11" fmla="*/ 83 h 876"/>
                <a:gd name="T12" fmla="*/ 171 w 171"/>
                <a:gd name="T13" fmla="*/ 876 h 876"/>
                <a:gd name="T14" fmla="*/ 0 w 171"/>
                <a:gd name="T15" fmla="*/ 876 h 876"/>
                <a:gd name="T16" fmla="*/ 37 w 171"/>
                <a:gd name="T1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876">
                  <a:moveTo>
                    <a:pt x="37" y="0"/>
                  </a:moveTo>
                  <a:lnTo>
                    <a:pt x="126" y="0"/>
                  </a:lnTo>
                  <a:lnTo>
                    <a:pt x="128" y="42"/>
                  </a:lnTo>
                  <a:lnTo>
                    <a:pt x="86" y="42"/>
                  </a:lnTo>
                  <a:lnTo>
                    <a:pt x="86" y="83"/>
                  </a:lnTo>
                  <a:lnTo>
                    <a:pt x="130" y="83"/>
                  </a:lnTo>
                  <a:lnTo>
                    <a:pt x="171" y="876"/>
                  </a:lnTo>
                  <a:lnTo>
                    <a:pt x="0" y="876"/>
                  </a:lnTo>
                  <a:lnTo>
                    <a:pt x="37" y="0"/>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271" name="Freeform 314">
              <a:extLst>
                <a:ext uri="{FF2B5EF4-FFF2-40B4-BE49-F238E27FC236}">
                  <a16:creationId xmlns:a16="http://schemas.microsoft.com/office/drawing/2014/main" id="{EE28E85D-697E-4374-9B71-7EF31D8A6EBD}"/>
                </a:ext>
              </a:extLst>
            </p:cNvPr>
            <p:cNvSpPr>
              <a:spLocks/>
            </p:cNvSpPr>
            <p:nvPr/>
          </p:nvSpPr>
          <p:spPr bwMode="auto">
            <a:xfrm>
              <a:off x="3695" y="838"/>
              <a:ext cx="67" cy="38"/>
            </a:xfrm>
            <a:custGeom>
              <a:avLst/>
              <a:gdLst>
                <a:gd name="T0" fmla="*/ 0 w 843"/>
                <a:gd name="T1" fmla="*/ 0 h 475"/>
                <a:gd name="T2" fmla="*/ 843 w 843"/>
                <a:gd name="T3" fmla="*/ 0 h 475"/>
                <a:gd name="T4" fmla="*/ 843 w 843"/>
                <a:gd name="T5" fmla="*/ 97 h 475"/>
                <a:gd name="T6" fmla="*/ 752 w 843"/>
                <a:gd name="T7" fmla="*/ 97 h 475"/>
                <a:gd name="T8" fmla="*/ 752 w 843"/>
                <a:gd name="T9" fmla="*/ 139 h 475"/>
                <a:gd name="T10" fmla="*/ 843 w 843"/>
                <a:gd name="T11" fmla="*/ 139 h 475"/>
                <a:gd name="T12" fmla="*/ 843 w 843"/>
                <a:gd name="T13" fmla="*/ 212 h 475"/>
                <a:gd name="T14" fmla="*/ 752 w 843"/>
                <a:gd name="T15" fmla="*/ 212 h 475"/>
                <a:gd name="T16" fmla="*/ 752 w 843"/>
                <a:gd name="T17" fmla="*/ 254 h 475"/>
                <a:gd name="T18" fmla="*/ 843 w 843"/>
                <a:gd name="T19" fmla="*/ 254 h 475"/>
                <a:gd name="T20" fmla="*/ 843 w 843"/>
                <a:gd name="T21" fmla="*/ 329 h 475"/>
                <a:gd name="T22" fmla="*/ 752 w 843"/>
                <a:gd name="T23" fmla="*/ 329 h 475"/>
                <a:gd name="T24" fmla="*/ 752 w 843"/>
                <a:gd name="T25" fmla="*/ 369 h 475"/>
                <a:gd name="T26" fmla="*/ 843 w 843"/>
                <a:gd name="T27" fmla="*/ 369 h 475"/>
                <a:gd name="T28" fmla="*/ 843 w 843"/>
                <a:gd name="T29" fmla="*/ 475 h 475"/>
                <a:gd name="T30" fmla="*/ 39 w 843"/>
                <a:gd name="T31" fmla="*/ 475 h 475"/>
                <a:gd name="T32" fmla="*/ 39 w 843"/>
                <a:gd name="T33" fmla="*/ 73 h 475"/>
                <a:gd name="T34" fmla="*/ 0 w 843"/>
                <a:gd name="T35"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3" h="475">
                  <a:moveTo>
                    <a:pt x="0" y="0"/>
                  </a:moveTo>
                  <a:lnTo>
                    <a:pt x="843" y="0"/>
                  </a:lnTo>
                  <a:lnTo>
                    <a:pt x="843" y="97"/>
                  </a:lnTo>
                  <a:lnTo>
                    <a:pt x="752" y="97"/>
                  </a:lnTo>
                  <a:lnTo>
                    <a:pt x="752" y="139"/>
                  </a:lnTo>
                  <a:lnTo>
                    <a:pt x="843" y="139"/>
                  </a:lnTo>
                  <a:lnTo>
                    <a:pt x="843" y="212"/>
                  </a:lnTo>
                  <a:lnTo>
                    <a:pt x="752" y="212"/>
                  </a:lnTo>
                  <a:lnTo>
                    <a:pt x="752" y="254"/>
                  </a:lnTo>
                  <a:lnTo>
                    <a:pt x="843" y="254"/>
                  </a:lnTo>
                  <a:lnTo>
                    <a:pt x="843" y="329"/>
                  </a:lnTo>
                  <a:lnTo>
                    <a:pt x="752" y="329"/>
                  </a:lnTo>
                  <a:lnTo>
                    <a:pt x="752" y="369"/>
                  </a:lnTo>
                  <a:lnTo>
                    <a:pt x="843" y="369"/>
                  </a:lnTo>
                  <a:lnTo>
                    <a:pt x="843" y="475"/>
                  </a:lnTo>
                  <a:lnTo>
                    <a:pt x="39" y="475"/>
                  </a:lnTo>
                  <a:lnTo>
                    <a:pt x="39" y="73"/>
                  </a:lnTo>
                  <a:lnTo>
                    <a:pt x="0" y="0"/>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272" name="Rectangle 315">
              <a:extLst>
                <a:ext uri="{FF2B5EF4-FFF2-40B4-BE49-F238E27FC236}">
                  <a16:creationId xmlns:a16="http://schemas.microsoft.com/office/drawing/2014/main" id="{9BF21A7B-8554-49AE-ABE1-1AECFDA009E9}"/>
                </a:ext>
              </a:extLst>
            </p:cNvPr>
            <p:cNvSpPr>
              <a:spLocks noChangeArrowheads="1"/>
            </p:cNvSpPr>
            <p:nvPr/>
          </p:nvSpPr>
          <p:spPr bwMode="auto">
            <a:xfrm>
              <a:off x="3772"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73" name="Rectangle 316">
              <a:extLst>
                <a:ext uri="{FF2B5EF4-FFF2-40B4-BE49-F238E27FC236}">
                  <a16:creationId xmlns:a16="http://schemas.microsoft.com/office/drawing/2014/main" id="{C8614EC6-480D-4048-AF84-E164C176F54C}"/>
                </a:ext>
              </a:extLst>
            </p:cNvPr>
            <p:cNvSpPr>
              <a:spLocks noChangeArrowheads="1"/>
            </p:cNvSpPr>
            <p:nvPr/>
          </p:nvSpPr>
          <p:spPr bwMode="auto">
            <a:xfrm>
              <a:off x="3785"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74" name="Rectangle 317">
              <a:extLst>
                <a:ext uri="{FF2B5EF4-FFF2-40B4-BE49-F238E27FC236}">
                  <a16:creationId xmlns:a16="http://schemas.microsoft.com/office/drawing/2014/main" id="{703CD147-D138-4AA0-B8C5-DDF04ABCD7BC}"/>
                </a:ext>
              </a:extLst>
            </p:cNvPr>
            <p:cNvSpPr>
              <a:spLocks noChangeArrowheads="1"/>
            </p:cNvSpPr>
            <p:nvPr/>
          </p:nvSpPr>
          <p:spPr bwMode="auto">
            <a:xfrm>
              <a:off x="3798"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75" name="Rectangle 318">
              <a:extLst>
                <a:ext uri="{FF2B5EF4-FFF2-40B4-BE49-F238E27FC236}">
                  <a16:creationId xmlns:a16="http://schemas.microsoft.com/office/drawing/2014/main" id="{67847FB1-CE69-4A71-8DDC-2F75095E325C}"/>
                </a:ext>
              </a:extLst>
            </p:cNvPr>
            <p:cNvSpPr>
              <a:spLocks noChangeArrowheads="1"/>
            </p:cNvSpPr>
            <p:nvPr/>
          </p:nvSpPr>
          <p:spPr bwMode="auto">
            <a:xfrm>
              <a:off x="3811" y="813"/>
              <a:ext cx="7"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76" name="Rectangle 319">
              <a:extLst>
                <a:ext uri="{FF2B5EF4-FFF2-40B4-BE49-F238E27FC236}">
                  <a16:creationId xmlns:a16="http://schemas.microsoft.com/office/drawing/2014/main" id="{7E9F51A9-1B07-41A4-AF42-7100F9245119}"/>
                </a:ext>
              </a:extLst>
            </p:cNvPr>
            <p:cNvSpPr>
              <a:spLocks noChangeArrowheads="1"/>
            </p:cNvSpPr>
            <p:nvPr/>
          </p:nvSpPr>
          <p:spPr bwMode="auto">
            <a:xfrm>
              <a:off x="3823"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77" name="Rectangle 320">
              <a:extLst>
                <a:ext uri="{FF2B5EF4-FFF2-40B4-BE49-F238E27FC236}">
                  <a16:creationId xmlns:a16="http://schemas.microsoft.com/office/drawing/2014/main" id="{1A4BE8CA-A065-4850-82E4-8CE11AAA7753}"/>
                </a:ext>
              </a:extLst>
            </p:cNvPr>
            <p:cNvSpPr>
              <a:spLocks noChangeArrowheads="1"/>
            </p:cNvSpPr>
            <p:nvPr/>
          </p:nvSpPr>
          <p:spPr bwMode="auto">
            <a:xfrm>
              <a:off x="3703"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78" name="Rectangle 321">
              <a:extLst>
                <a:ext uri="{FF2B5EF4-FFF2-40B4-BE49-F238E27FC236}">
                  <a16:creationId xmlns:a16="http://schemas.microsoft.com/office/drawing/2014/main" id="{B45C9E4D-21F0-4AAA-BB94-15056D0C844A}"/>
                </a:ext>
              </a:extLst>
            </p:cNvPr>
            <p:cNvSpPr>
              <a:spLocks noChangeArrowheads="1"/>
            </p:cNvSpPr>
            <p:nvPr/>
          </p:nvSpPr>
          <p:spPr bwMode="auto">
            <a:xfrm>
              <a:off x="3716"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79" name="Rectangle 322">
              <a:extLst>
                <a:ext uri="{FF2B5EF4-FFF2-40B4-BE49-F238E27FC236}">
                  <a16:creationId xmlns:a16="http://schemas.microsoft.com/office/drawing/2014/main" id="{C8E70CD8-E7D1-4FDA-B45D-CB49CAA92A42}"/>
                </a:ext>
              </a:extLst>
            </p:cNvPr>
            <p:cNvSpPr>
              <a:spLocks noChangeArrowheads="1"/>
            </p:cNvSpPr>
            <p:nvPr/>
          </p:nvSpPr>
          <p:spPr bwMode="auto">
            <a:xfrm>
              <a:off x="3729"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80" name="Rectangle 323">
              <a:extLst>
                <a:ext uri="{FF2B5EF4-FFF2-40B4-BE49-F238E27FC236}">
                  <a16:creationId xmlns:a16="http://schemas.microsoft.com/office/drawing/2014/main" id="{93D9B2E0-20E8-4D73-8F1D-9D39BD99C586}"/>
                </a:ext>
              </a:extLst>
            </p:cNvPr>
            <p:cNvSpPr>
              <a:spLocks noChangeArrowheads="1"/>
            </p:cNvSpPr>
            <p:nvPr/>
          </p:nvSpPr>
          <p:spPr bwMode="auto">
            <a:xfrm>
              <a:off x="3742"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81" name="Rectangle 324">
              <a:extLst>
                <a:ext uri="{FF2B5EF4-FFF2-40B4-BE49-F238E27FC236}">
                  <a16:creationId xmlns:a16="http://schemas.microsoft.com/office/drawing/2014/main" id="{A9EADEE9-0F2D-4E7F-B1E6-DB7276C70300}"/>
                </a:ext>
              </a:extLst>
            </p:cNvPr>
            <p:cNvSpPr>
              <a:spLocks noChangeArrowheads="1"/>
            </p:cNvSpPr>
            <p:nvPr/>
          </p:nvSpPr>
          <p:spPr bwMode="auto">
            <a:xfrm>
              <a:off x="3703"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82" name="Rectangle 325">
              <a:extLst>
                <a:ext uri="{FF2B5EF4-FFF2-40B4-BE49-F238E27FC236}">
                  <a16:creationId xmlns:a16="http://schemas.microsoft.com/office/drawing/2014/main" id="{88D21E21-D424-46C8-B246-C22EE3082E15}"/>
                </a:ext>
              </a:extLst>
            </p:cNvPr>
            <p:cNvSpPr>
              <a:spLocks noChangeArrowheads="1"/>
            </p:cNvSpPr>
            <p:nvPr/>
          </p:nvSpPr>
          <p:spPr bwMode="auto">
            <a:xfrm>
              <a:off x="3716"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83" name="Rectangle 326">
              <a:extLst>
                <a:ext uri="{FF2B5EF4-FFF2-40B4-BE49-F238E27FC236}">
                  <a16:creationId xmlns:a16="http://schemas.microsoft.com/office/drawing/2014/main" id="{AC13CD5D-1B21-4C59-BAC6-793DB68423B7}"/>
                </a:ext>
              </a:extLst>
            </p:cNvPr>
            <p:cNvSpPr>
              <a:spLocks noChangeArrowheads="1"/>
            </p:cNvSpPr>
            <p:nvPr/>
          </p:nvSpPr>
          <p:spPr bwMode="auto">
            <a:xfrm>
              <a:off x="3729"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84" name="Rectangle 327">
              <a:extLst>
                <a:ext uri="{FF2B5EF4-FFF2-40B4-BE49-F238E27FC236}">
                  <a16:creationId xmlns:a16="http://schemas.microsoft.com/office/drawing/2014/main" id="{5917FF19-3C1C-46DE-A4FE-A6168C11E67A}"/>
                </a:ext>
              </a:extLst>
            </p:cNvPr>
            <p:cNvSpPr>
              <a:spLocks noChangeArrowheads="1"/>
            </p:cNvSpPr>
            <p:nvPr/>
          </p:nvSpPr>
          <p:spPr bwMode="auto">
            <a:xfrm>
              <a:off x="3742"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85" name="Rectangle 328">
              <a:extLst>
                <a:ext uri="{FF2B5EF4-FFF2-40B4-BE49-F238E27FC236}">
                  <a16:creationId xmlns:a16="http://schemas.microsoft.com/office/drawing/2014/main" id="{CE6EDB26-FCE6-4BD4-A3D9-D7EE00CD997B}"/>
                </a:ext>
              </a:extLst>
            </p:cNvPr>
            <p:cNvSpPr>
              <a:spLocks noChangeArrowheads="1"/>
            </p:cNvSpPr>
            <p:nvPr/>
          </p:nvSpPr>
          <p:spPr bwMode="auto">
            <a:xfrm>
              <a:off x="3703"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86" name="Rectangle 329">
              <a:extLst>
                <a:ext uri="{FF2B5EF4-FFF2-40B4-BE49-F238E27FC236}">
                  <a16:creationId xmlns:a16="http://schemas.microsoft.com/office/drawing/2014/main" id="{9A3DDB53-6F76-4997-AC0C-D6166A955895}"/>
                </a:ext>
              </a:extLst>
            </p:cNvPr>
            <p:cNvSpPr>
              <a:spLocks noChangeArrowheads="1"/>
            </p:cNvSpPr>
            <p:nvPr/>
          </p:nvSpPr>
          <p:spPr bwMode="auto">
            <a:xfrm>
              <a:off x="3716"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87" name="Rectangle 330">
              <a:extLst>
                <a:ext uri="{FF2B5EF4-FFF2-40B4-BE49-F238E27FC236}">
                  <a16:creationId xmlns:a16="http://schemas.microsoft.com/office/drawing/2014/main" id="{23E8F843-8409-4D39-BE80-B687EA400808}"/>
                </a:ext>
              </a:extLst>
            </p:cNvPr>
            <p:cNvSpPr>
              <a:spLocks noChangeArrowheads="1"/>
            </p:cNvSpPr>
            <p:nvPr/>
          </p:nvSpPr>
          <p:spPr bwMode="auto">
            <a:xfrm>
              <a:off x="3729"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288" name="Rectangle 331">
              <a:extLst>
                <a:ext uri="{FF2B5EF4-FFF2-40B4-BE49-F238E27FC236}">
                  <a16:creationId xmlns:a16="http://schemas.microsoft.com/office/drawing/2014/main" id="{9A43DCC4-2C21-4FCC-A0B2-A76BDF0D88EF}"/>
                </a:ext>
              </a:extLst>
            </p:cNvPr>
            <p:cNvSpPr>
              <a:spLocks noChangeArrowheads="1"/>
            </p:cNvSpPr>
            <p:nvPr/>
          </p:nvSpPr>
          <p:spPr bwMode="auto">
            <a:xfrm>
              <a:off x="3742"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grpSp>
      <p:grpSp>
        <p:nvGrpSpPr>
          <p:cNvPr id="289" name="Group 332">
            <a:extLst>
              <a:ext uri="{FF2B5EF4-FFF2-40B4-BE49-F238E27FC236}">
                <a16:creationId xmlns:a16="http://schemas.microsoft.com/office/drawing/2014/main" id="{B3D7EC1D-6B5E-472A-A5E4-80D3BFF271DD}"/>
              </a:ext>
            </a:extLst>
          </p:cNvPr>
          <p:cNvGrpSpPr>
            <a:grpSpLocks/>
          </p:cNvGrpSpPr>
          <p:nvPr/>
        </p:nvGrpSpPr>
        <p:grpSpPr bwMode="auto">
          <a:xfrm>
            <a:off x="6248789" y="348859"/>
            <a:ext cx="263517" cy="177795"/>
            <a:chOff x="3689" y="761"/>
            <a:chExt cx="175" cy="118"/>
          </a:xfrm>
        </p:grpSpPr>
        <p:sp>
          <p:nvSpPr>
            <p:cNvPr id="290" name="Freeform 333">
              <a:extLst>
                <a:ext uri="{FF2B5EF4-FFF2-40B4-BE49-F238E27FC236}">
                  <a16:creationId xmlns:a16="http://schemas.microsoft.com/office/drawing/2014/main" id="{FA2CA2C5-BF62-49A8-8239-2A5130487A69}"/>
                </a:ext>
              </a:extLst>
            </p:cNvPr>
            <p:cNvSpPr>
              <a:spLocks/>
            </p:cNvSpPr>
            <p:nvPr/>
          </p:nvSpPr>
          <p:spPr bwMode="auto">
            <a:xfrm>
              <a:off x="3689" y="761"/>
              <a:ext cx="175" cy="118"/>
            </a:xfrm>
            <a:custGeom>
              <a:avLst/>
              <a:gdLst>
                <a:gd name="T0" fmla="*/ 2042 w 2187"/>
                <a:gd name="T1" fmla="*/ 797 h 1474"/>
                <a:gd name="T2" fmla="*/ 1945 w 2187"/>
                <a:gd name="T3" fmla="*/ 894 h 1474"/>
                <a:gd name="T4" fmla="*/ 1945 w 2187"/>
                <a:gd name="T5" fmla="*/ 658 h 1474"/>
                <a:gd name="T6" fmla="*/ 2005 w 2187"/>
                <a:gd name="T7" fmla="*/ 543 h 1474"/>
                <a:gd name="T8" fmla="*/ 912 w 2187"/>
                <a:gd name="T9" fmla="*/ 543 h 1474"/>
                <a:gd name="T10" fmla="*/ 912 w 2187"/>
                <a:gd name="T11" fmla="*/ 916 h 1474"/>
                <a:gd name="T12" fmla="*/ 755 w 2187"/>
                <a:gd name="T13" fmla="*/ 916 h 1474"/>
                <a:gd name="T14" fmla="*/ 708 w 2187"/>
                <a:gd name="T15" fmla="*/ 0 h 1474"/>
                <a:gd name="T16" fmla="*/ 541 w 2187"/>
                <a:gd name="T17" fmla="*/ 0 h 1474"/>
                <a:gd name="T18" fmla="*/ 503 w 2187"/>
                <a:gd name="T19" fmla="*/ 916 h 1474"/>
                <a:gd name="T20" fmla="*/ 466 w 2187"/>
                <a:gd name="T21" fmla="*/ 916 h 1474"/>
                <a:gd name="T22" fmla="*/ 419 w 2187"/>
                <a:gd name="T23" fmla="*/ 0 h 1474"/>
                <a:gd name="T24" fmla="*/ 251 w 2187"/>
                <a:gd name="T25" fmla="*/ 0 h 1474"/>
                <a:gd name="T26" fmla="*/ 213 w 2187"/>
                <a:gd name="T27" fmla="*/ 916 h 1474"/>
                <a:gd name="T28" fmla="*/ 0 w 2187"/>
                <a:gd name="T29" fmla="*/ 916 h 1474"/>
                <a:gd name="T30" fmla="*/ 67 w 2187"/>
                <a:gd name="T31" fmla="*/ 1040 h 1474"/>
                <a:gd name="T32" fmla="*/ 67 w 2187"/>
                <a:gd name="T33" fmla="*/ 1474 h 1474"/>
                <a:gd name="T34" fmla="*/ 2187 w 2187"/>
                <a:gd name="T35" fmla="*/ 1474 h 1474"/>
                <a:gd name="T36" fmla="*/ 2187 w 2187"/>
                <a:gd name="T37" fmla="*/ 953 h 1474"/>
                <a:gd name="T38" fmla="*/ 2042 w 2187"/>
                <a:gd name="T39" fmla="*/ 797 h 1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87" h="1474">
                  <a:moveTo>
                    <a:pt x="2042" y="797"/>
                  </a:moveTo>
                  <a:lnTo>
                    <a:pt x="1945" y="894"/>
                  </a:lnTo>
                  <a:lnTo>
                    <a:pt x="1945" y="658"/>
                  </a:lnTo>
                  <a:lnTo>
                    <a:pt x="2005" y="543"/>
                  </a:lnTo>
                  <a:lnTo>
                    <a:pt x="912" y="543"/>
                  </a:lnTo>
                  <a:lnTo>
                    <a:pt x="912" y="916"/>
                  </a:lnTo>
                  <a:lnTo>
                    <a:pt x="755" y="916"/>
                  </a:lnTo>
                  <a:lnTo>
                    <a:pt x="708" y="0"/>
                  </a:lnTo>
                  <a:lnTo>
                    <a:pt x="541" y="0"/>
                  </a:lnTo>
                  <a:lnTo>
                    <a:pt x="503" y="916"/>
                  </a:lnTo>
                  <a:lnTo>
                    <a:pt x="466" y="916"/>
                  </a:lnTo>
                  <a:lnTo>
                    <a:pt x="419" y="0"/>
                  </a:lnTo>
                  <a:lnTo>
                    <a:pt x="251" y="0"/>
                  </a:lnTo>
                  <a:lnTo>
                    <a:pt x="213" y="916"/>
                  </a:lnTo>
                  <a:lnTo>
                    <a:pt x="0" y="916"/>
                  </a:lnTo>
                  <a:lnTo>
                    <a:pt x="67" y="1040"/>
                  </a:lnTo>
                  <a:lnTo>
                    <a:pt x="67" y="1474"/>
                  </a:lnTo>
                  <a:lnTo>
                    <a:pt x="2187" y="1474"/>
                  </a:lnTo>
                  <a:lnTo>
                    <a:pt x="2187" y="953"/>
                  </a:lnTo>
                  <a:lnTo>
                    <a:pt x="2042" y="797"/>
                  </a:lnTo>
                  <a:close/>
                </a:path>
              </a:pathLst>
            </a:custGeom>
            <a:solidFill>
              <a:srgbClr val="000000"/>
            </a:solidFill>
            <a:ln w="3175" cmpd="sng">
              <a:solidFill>
                <a:srgbClr val="FB0129"/>
              </a:solidFill>
              <a:round/>
              <a:headEnd/>
              <a:tailEnd/>
            </a:ln>
          </p:spPr>
          <p:txBody>
            <a:bodyPr/>
            <a:lstStyle/>
            <a:p>
              <a:pPr defTabSz="609539"/>
              <a:endParaRPr lang="en-US" sz="2399" b="1">
                <a:solidFill>
                  <a:srgbClr val="000000"/>
                </a:solidFill>
              </a:endParaRPr>
            </a:p>
          </p:txBody>
        </p:sp>
        <p:sp>
          <p:nvSpPr>
            <p:cNvPr id="291" name="Freeform 334">
              <a:extLst>
                <a:ext uri="{FF2B5EF4-FFF2-40B4-BE49-F238E27FC236}">
                  <a16:creationId xmlns:a16="http://schemas.microsoft.com/office/drawing/2014/main" id="{960B0AE9-D686-4F08-94C4-1B8C41601BE6}"/>
                </a:ext>
              </a:extLst>
            </p:cNvPr>
            <p:cNvSpPr>
              <a:spLocks/>
            </p:cNvSpPr>
            <p:nvPr/>
          </p:nvSpPr>
          <p:spPr bwMode="auto">
            <a:xfrm>
              <a:off x="3787" y="829"/>
              <a:ext cx="74" cy="47"/>
            </a:xfrm>
            <a:custGeom>
              <a:avLst/>
              <a:gdLst>
                <a:gd name="T0" fmla="*/ 923 w 923"/>
                <a:gd name="T1" fmla="*/ 116 h 579"/>
                <a:gd name="T2" fmla="*/ 923 w 923"/>
                <a:gd name="T3" fmla="*/ 366 h 579"/>
                <a:gd name="T4" fmla="*/ 473 w 923"/>
                <a:gd name="T5" fmla="*/ 366 h 579"/>
                <a:gd name="T6" fmla="*/ 473 w 923"/>
                <a:gd name="T7" fmla="*/ 579 h 579"/>
                <a:gd name="T8" fmla="*/ 0 w 923"/>
                <a:gd name="T9" fmla="*/ 579 h 579"/>
                <a:gd name="T10" fmla="*/ 0 w 923"/>
                <a:gd name="T11" fmla="*/ 149 h 579"/>
                <a:gd name="T12" fmla="*/ 122 w 923"/>
                <a:gd name="T13" fmla="*/ 16 h 579"/>
                <a:gd name="T14" fmla="*/ 232 w 923"/>
                <a:gd name="T15" fmla="*/ 136 h 579"/>
                <a:gd name="T16" fmla="*/ 355 w 923"/>
                <a:gd name="T17" fmla="*/ 11 h 579"/>
                <a:gd name="T18" fmla="*/ 453 w 923"/>
                <a:gd name="T19" fmla="*/ 109 h 579"/>
                <a:gd name="T20" fmla="*/ 578 w 923"/>
                <a:gd name="T21" fmla="*/ 0 h 579"/>
                <a:gd name="T22" fmla="*/ 708 w 923"/>
                <a:gd name="T23" fmla="*/ 115 h 579"/>
                <a:gd name="T24" fmla="*/ 818 w 923"/>
                <a:gd name="T25" fmla="*/ 3 h 579"/>
                <a:gd name="T26" fmla="*/ 923 w 923"/>
                <a:gd name="T27" fmla="*/ 116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3" h="579">
                  <a:moveTo>
                    <a:pt x="923" y="116"/>
                  </a:moveTo>
                  <a:lnTo>
                    <a:pt x="923" y="366"/>
                  </a:lnTo>
                  <a:lnTo>
                    <a:pt x="473" y="366"/>
                  </a:lnTo>
                  <a:lnTo>
                    <a:pt x="473" y="579"/>
                  </a:lnTo>
                  <a:lnTo>
                    <a:pt x="0" y="579"/>
                  </a:lnTo>
                  <a:lnTo>
                    <a:pt x="0" y="149"/>
                  </a:lnTo>
                  <a:lnTo>
                    <a:pt x="122" y="16"/>
                  </a:lnTo>
                  <a:lnTo>
                    <a:pt x="232" y="136"/>
                  </a:lnTo>
                  <a:lnTo>
                    <a:pt x="355" y="11"/>
                  </a:lnTo>
                  <a:lnTo>
                    <a:pt x="453" y="109"/>
                  </a:lnTo>
                  <a:lnTo>
                    <a:pt x="578" y="0"/>
                  </a:lnTo>
                  <a:lnTo>
                    <a:pt x="708" y="115"/>
                  </a:lnTo>
                  <a:lnTo>
                    <a:pt x="818" y="3"/>
                  </a:lnTo>
                  <a:lnTo>
                    <a:pt x="923" y="116"/>
                  </a:lnTo>
                  <a:close/>
                </a:path>
              </a:pathLst>
            </a:custGeom>
            <a:solidFill>
              <a:srgbClr val="FFFFFF"/>
            </a:solidFill>
            <a:ln w="3175" cmpd="sng">
              <a:solidFill>
                <a:srgbClr val="FB0129"/>
              </a:solidFill>
              <a:round/>
              <a:headEnd/>
              <a:tailEnd/>
            </a:ln>
          </p:spPr>
          <p:txBody>
            <a:bodyPr/>
            <a:lstStyle/>
            <a:p>
              <a:pPr defTabSz="609539"/>
              <a:endParaRPr lang="en-US" sz="2399" b="1">
                <a:solidFill>
                  <a:srgbClr val="000000"/>
                </a:solidFill>
              </a:endParaRPr>
            </a:p>
          </p:txBody>
        </p:sp>
        <p:sp>
          <p:nvSpPr>
            <p:cNvPr id="292" name="Rectangle 335">
              <a:extLst>
                <a:ext uri="{FF2B5EF4-FFF2-40B4-BE49-F238E27FC236}">
                  <a16:creationId xmlns:a16="http://schemas.microsoft.com/office/drawing/2014/main" id="{AE14B3AD-33E3-482C-A7F1-6EEC40A1EC1C}"/>
                </a:ext>
              </a:extLst>
            </p:cNvPr>
            <p:cNvSpPr>
              <a:spLocks noChangeArrowheads="1"/>
            </p:cNvSpPr>
            <p:nvPr/>
          </p:nvSpPr>
          <p:spPr bwMode="auto">
            <a:xfrm>
              <a:off x="3828" y="862"/>
              <a:ext cx="10" cy="14"/>
            </a:xfrm>
            <a:prstGeom prst="rect">
              <a:avLst/>
            </a:prstGeom>
            <a:solidFill>
              <a:srgbClr val="FFFFFF"/>
            </a:solidFill>
            <a:ln w="3175">
              <a:solidFill>
                <a:srgbClr val="FB0129"/>
              </a:solidFill>
              <a:miter lim="800000"/>
              <a:headEnd/>
              <a:tailEnd/>
            </a:ln>
          </p:spPr>
          <p:txBody>
            <a:bodyPr/>
            <a:lstStyle/>
            <a:p>
              <a:pPr defTabSz="609539"/>
              <a:endParaRPr lang="en-US" sz="2399" b="1">
                <a:solidFill>
                  <a:srgbClr val="000000"/>
                </a:solidFill>
              </a:endParaRPr>
            </a:p>
          </p:txBody>
        </p:sp>
        <p:sp>
          <p:nvSpPr>
            <p:cNvPr id="293" name="Rectangle 336">
              <a:extLst>
                <a:ext uri="{FF2B5EF4-FFF2-40B4-BE49-F238E27FC236}">
                  <a16:creationId xmlns:a16="http://schemas.microsoft.com/office/drawing/2014/main" id="{A13A441A-B7C7-440F-B150-AFC9FC0519C4}"/>
                </a:ext>
              </a:extLst>
            </p:cNvPr>
            <p:cNvSpPr>
              <a:spLocks noChangeArrowheads="1"/>
            </p:cNvSpPr>
            <p:nvPr/>
          </p:nvSpPr>
          <p:spPr bwMode="auto">
            <a:xfrm>
              <a:off x="3841" y="862"/>
              <a:ext cx="9" cy="14"/>
            </a:xfrm>
            <a:prstGeom prst="rect">
              <a:avLst/>
            </a:prstGeom>
            <a:solidFill>
              <a:srgbClr val="FFFFFF"/>
            </a:solidFill>
            <a:ln w="3175">
              <a:solidFill>
                <a:srgbClr val="FB0129"/>
              </a:solidFill>
              <a:miter lim="800000"/>
              <a:headEnd/>
              <a:tailEnd/>
            </a:ln>
          </p:spPr>
          <p:txBody>
            <a:bodyPr/>
            <a:lstStyle/>
            <a:p>
              <a:pPr defTabSz="609539"/>
              <a:endParaRPr lang="en-US" sz="2399" b="1">
                <a:solidFill>
                  <a:srgbClr val="000000"/>
                </a:solidFill>
              </a:endParaRPr>
            </a:p>
          </p:txBody>
        </p:sp>
        <p:sp>
          <p:nvSpPr>
            <p:cNvPr id="294" name="Rectangle 337">
              <a:extLst>
                <a:ext uri="{FF2B5EF4-FFF2-40B4-BE49-F238E27FC236}">
                  <a16:creationId xmlns:a16="http://schemas.microsoft.com/office/drawing/2014/main" id="{D798ECAC-79D6-44EC-ACC6-23022546AFEF}"/>
                </a:ext>
              </a:extLst>
            </p:cNvPr>
            <p:cNvSpPr>
              <a:spLocks noChangeArrowheads="1"/>
            </p:cNvSpPr>
            <p:nvPr/>
          </p:nvSpPr>
          <p:spPr bwMode="auto">
            <a:xfrm>
              <a:off x="3853" y="862"/>
              <a:ext cx="8" cy="14"/>
            </a:xfrm>
            <a:prstGeom prst="rect">
              <a:avLst/>
            </a:prstGeom>
            <a:solidFill>
              <a:srgbClr val="FFFFFF"/>
            </a:solidFill>
            <a:ln w="3175">
              <a:solidFill>
                <a:srgbClr val="FB0129"/>
              </a:solidFill>
              <a:miter lim="800000"/>
              <a:headEnd/>
              <a:tailEnd/>
            </a:ln>
          </p:spPr>
          <p:txBody>
            <a:bodyPr/>
            <a:lstStyle/>
            <a:p>
              <a:pPr defTabSz="609539"/>
              <a:endParaRPr lang="en-US" sz="2399" b="1">
                <a:solidFill>
                  <a:srgbClr val="000000"/>
                </a:solidFill>
              </a:endParaRPr>
            </a:p>
          </p:txBody>
        </p:sp>
        <p:sp>
          <p:nvSpPr>
            <p:cNvPr id="295" name="Freeform 338">
              <a:extLst>
                <a:ext uri="{FF2B5EF4-FFF2-40B4-BE49-F238E27FC236}">
                  <a16:creationId xmlns:a16="http://schemas.microsoft.com/office/drawing/2014/main" id="{BF71461B-8541-4771-B073-35B395947886}"/>
                </a:ext>
              </a:extLst>
            </p:cNvPr>
            <p:cNvSpPr>
              <a:spLocks/>
            </p:cNvSpPr>
            <p:nvPr/>
          </p:nvSpPr>
          <p:spPr bwMode="auto">
            <a:xfrm>
              <a:off x="3765" y="808"/>
              <a:ext cx="79" cy="68"/>
            </a:xfrm>
            <a:custGeom>
              <a:avLst/>
              <a:gdLst>
                <a:gd name="T0" fmla="*/ 950 w 984"/>
                <a:gd name="T1" fmla="*/ 64 h 848"/>
                <a:gd name="T2" fmla="*/ 950 w 984"/>
                <a:gd name="T3" fmla="*/ 306 h 848"/>
                <a:gd name="T4" fmla="*/ 847 w 984"/>
                <a:gd name="T5" fmla="*/ 213 h 848"/>
                <a:gd name="T6" fmla="*/ 725 w 984"/>
                <a:gd name="T7" fmla="*/ 322 h 848"/>
                <a:gd name="T8" fmla="*/ 624 w 984"/>
                <a:gd name="T9" fmla="*/ 223 h 848"/>
                <a:gd name="T10" fmla="*/ 502 w 984"/>
                <a:gd name="T11" fmla="*/ 345 h 848"/>
                <a:gd name="T12" fmla="*/ 391 w 984"/>
                <a:gd name="T13" fmla="*/ 224 h 848"/>
                <a:gd name="T14" fmla="*/ 228 w 984"/>
                <a:gd name="T15" fmla="*/ 402 h 848"/>
                <a:gd name="T16" fmla="*/ 228 w 984"/>
                <a:gd name="T17" fmla="*/ 848 h 848"/>
                <a:gd name="T18" fmla="*/ 0 w 984"/>
                <a:gd name="T19" fmla="*/ 848 h 848"/>
                <a:gd name="T20" fmla="*/ 0 w 984"/>
                <a:gd name="T21" fmla="*/ 0 h 848"/>
                <a:gd name="T22" fmla="*/ 984 w 984"/>
                <a:gd name="T23" fmla="*/ 0 h 848"/>
                <a:gd name="T24" fmla="*/ 950 w 984"/>
                <a:gd name="T25" fmla="*/ 6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4" h="848">
                  <a:moveTo>
                    <a:pt x="950" y="64"/>
                  </a:moveTo>
                  <a:lnTo>
                    <a:pt x="950" y="306"/>
                  </a:lnTo>
                  <a:lnTo>
                    <a:pt x="847" y="213"/>
                  </a:lnTo>
                  <a:lnTo>
                    <a:pt x="725" y="322"/>
                  </a:lnTo>
                  <a:lnTo>
                    <a:pt x="624" y="223"/>
                  </a:lnTo>
                  <a:lnTo>
                    <a:pt x="502" y="345"/>
                  </a:lnTo>
                  <a:lnTo>
                    <a:pt x="391" y="224"/>
                  </a:lnTo>
                  <a:lnTo>
                    <a:pt x="228" y="402"/>
                  </a:lnTo>
                  <a:lnTo>
                    <a:pt x="228" y="848"/>
                  </a:lnTo>
                  <a:lnTo>
                    <a:pt x="0" y="848"/>
                  </a:lnTo>
                  <a:lnTo>
                    <a:pt x="0" y="0"/>
                  </a:lnTo>
                  <a:lnTo>
                    <a:pt x="984" y="0"/>
                  </a:lnTo>
                  <a:lnTo>
                    <a:pt x="950" y="64"/>
                  </a:lnTo>
                  <a:close/>
                </a:path>
              </a:pathLst>
            </a:custGeom>
            <a:solidFill>
              <a:srgbClr val="FFFFFF"/>
            </a:solidFill>
            <a:ln w="3175" cmpd="sng">
              <a:solidFill>
                <a:srgbClr val="FB0129"/>
              </a:solidFill>
              <a:round/>
              <a:headEnd/>
              <a:tailEnd/>
            </a:ln>
          </p:spPr>
          <p:txBody>
            <a:bodyPr/>
            <a:lstStyle/>
            <a:p>
              <a:pPr defTabSz="609539"/>
              <a:endParaRPr lang="en-US" sz="2399" b="1">
                <a:solidFill>
                  <a:srgbClr val="000000"/>
                </a:solidFill>
              </a:endParaRPr>
            </a:p>
          </p:txBody>
        </p:sp>
        <p:sp>
          <p:nvSpPr>
            <p:cNvPr id="296" name="Freeform 339">
              <a:extLst>
                <a:ext uri="{FF2B5EF4-FFF2-40B4-BE49-F238E27FC236}">
                  <a16:creationId xmlns:a16="http://schemas.microsoft.com/office/drawing/2014/main" id="{70CA18E8-1A8F-44D8-8B1E-EBA640EBC6C5}"/>
                </a:ext>
              </a:extLst>
            </p:cNvPr>
            <p:cNvSpPr>
              <a:spLocks/>
            </p:cNvSpPr>
            <p:nvPr/>
          </p:nvSpPr>
          <p:spPr bwMode="auto">
            <a:xfrm>
              <a:off x="3733" y="764"/>
              <a:ext cx="13" cy="70"/>
            </a:xfrm>
            <a:custGeom>
              <a:avLst/>
              <a:gdLst>
                <a:gd name="T0" fmla="*/ 37 w 170"/>
                <a:gd name="T1" fmla="*/ 0 h 876"/>
                <a:gd name="T2" fmla="*/ 126 w 170"/>
                <a:gd name="T3" fmla="*/ 0 h 876"/>
                <a:gd name="T4" fmla="*/ 128 w 170"/>
                <a:gd name="T5" fmla="*/ 36 h 876"/>
                <a:gd name="T6" fmla="*/ 81 w 170"/>
                <a:gd name="T7" fmla="*/ 36 h 876"/>
                <a:gd name="T8" fmla="*/ 81 w 170"/>
                <a:gd name="T9" fmla="*/ 78 h 876"/>
                <a:gd name="T10" fmla="*/ 131 w 170"/>
                <a:gd name="T11" fmla="*/ 78 h 876"/>
                <a:gd name="T12" fmla="*/ 170 w 170"/>
                <a:gd name="T13" fmla="*/ 876 h 876"/>
                <a:gd name="T14" fmla="*/ 0 w 170"/>
                <a:gd name="T15" fmla="*/ 876 h 876"/>
                <a:gd name="T16" fmla="*/ 37 w 170"/>
                <a:gd name="T1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876">
                  <a:moveTo>
                    <a:pt x="37" y="0"/>
                  </a:moveTo>
                  <a:lnTo>
                    <a:pt x="126" y="0"/>
                  </a:lnTo>
                  <a:lnTo>
                    <a:pt x="128" y="36"/>
                  </a:lnTo>
                  <a:lnTo>
                    <a:pt x="81" y="36"/>
                  </a:lnTo>
                  <a:lnTo>
                    <a:pt x="81" y="78"/>
                  </a:lnTo>
                  <a:lnTo>
                    <a:pt x="131" y="78"/>
                  </a:lnTo>
                  <a:lnTo>
                    <a:pt x="170" y="876"/>
                  </a:lnTo>
                  <a:lnTo>
                    <a:pt x="0" y="876"/>
                  </a:lnTo>
                  <a:lnTo>
                    <a:pt x="37" y="0"/>
                  </a:lnTo>
                  <a:close/>
                </a:path>
              </a:pathLst>
            </a:custGeom>
            <a:solidFill>
              <a:srgbClr val="FFFFFF"/>
            </a:solidFill>
            <a:ln w="3175" cmpd="sng">
              <a:solidFill>
                <a:srgbClr val="FB0129"/>
              </a:solidFill>
              <a:round/>
              <a:headEnd/>
              <a:tailEnd/>
            </a:ln>
          </p:spPr>
          <p:txBody>
            <a:bodyPr/>
            <a:lstStyle/>
            <a:p>
              <a:pPr defTabSz="609539"/>
              <a:endParaRPr lang="en-US" sz="2399" b="1">
                <a:solidFill>
                  <a:srgbClr val="000000"/>
                </a:solidFill>
              </a:endParaRPr>
            </a:p>
          </p:txBody>
        </p:sp>
        <p:sp>
          <p:nvSpPr>
            <p:cNvPr id="297" name="Freeform 340">
              <a:extLst>
                <a:ext uri="{FF2B5EF4-FFF2-40B4-BE49-F238E27FC236}">
                  <a16:creationId xmlns:a16="http://schemas.microsoft.com/office/drawing/2014/main" id="{7A6EFCB2-0CA0-4E5D-8FBC-5CA49E71EDD4}"/>
                </a:ext>
              </a:extLst>
            </p:cNvPr>
            <p:cNvSpPr>
              <a:spLocks/>
            </p:cNvSpPr>
            <p:nvPr/>
          </p:nvSpPr>
          <p:spPr bwMode="auto">
            <a:xfrm>
              <a:off x="3709" y="764"/>
              <a:ext cx="14" cy="70"/>
            </a:xfrm>
            <a:custGeom>
              <a:avLst/>
              <a:gdLst>
                <a:gd name="T0" fmla="*/ 37 w 171"/>
                <a:gd name="T1" fmla="*/ 0 h 876"/>
                <a:gd name="T2" fmla="*/ 126 w 171"/>
                <a:gd name="T3" fmla="*/ 0 h 876"/>
                <a:gd name="T4" fmla="*/ 128 w 171"/>
                <a:gd name="T5" fmla="*/ 42 h 876"/>
                <a:gd name="T6" fmla="*/ 86 w 171"/>
                <a:gd name="T7" fmla="*/ 42 h 876"/>
                <a:gd name="T8" fmla="*/ 86 w 171"/>
                <a:gd name="T9" fmla="*/ 83 h 876"/>
                <a:gd name="T10" fmla="*/ 130 w 171"/>
                <a:gd name="T11" fmla="*/ 83 h 876"/>
                <a:gd name="T12" fmla="*/ 171 w 171"/>
                <a:gd name="T13" fmla="*/ 876 h 876"/>
                <a:gd name="T14" fmla="*/ 0 w 171"/>
                <a:gd name="T15" fmla="*/ 876 h 876"/>
                <a:gd name="T16" fmla="*/ 37 w 171"/>
                <a:gd name="T1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876">
                  <a:moveTo>
                    <a:pt x="37" y="0"/>
                  </a:moveTo>
                  <a:lnTo>
                    <a:pt x="126" y="0"/>
                  </a:lnTo>
                  <a:lnTo>
                    <a:pt x="128" y="42"/>
                  </a:lnTo>
                  <a:lnTo>
                    <a:pt x="86" y="42"/>
                  </a:lnTo>
                  <a:lnTo>
                    <a:pt x="86" y="83"/>
                  </a:lnTo>
                  <a:lnTo>
                    <a:pt x="130" y="83"/>
                  </a:lnTo>
                  <a:lnTo>
                    <a:pt x="171" y="876"/>
                  </a:lnTo>
                  <a:lnTo>
                    <a:pt x="0" y="876"/>
                  </a:lnTo>
                  <a:lnTo>
                    <a:pt x="37" y="0"/>
                  </a:lnTo>
                  <a:close/>
                </a:path>
              </a:pathLst>
            </a:custGeom>
            <a:solidFill>
              <a:srgbClr val="FFFFFF"/>
            </a:solidFill>
            <a:ln w="3175" cmpd="sng">
              <a:solidFill>
                <a:srgbClr val="FB0129"/>
              </a:solidFill>
              <a:round/>
              <a:headEnd/>
              <a:tailEnd/>
            </a:ln>
          </p:spPr>
          <p:txBody>
            <a:bodyPr/>
            <a:lstStyle/>
            <a:p>
              <a:pPr defTabSz="609539"/>
              <a:endParaRPr lang="en-US" sz="2399" b="1">
                <a:solidFill>
                  <a:srgbClr val="000000"/>
                </a:solidFill>
              </a:endParaRPr>
            </a:p>
          </p:txBody>
        </p:sp>
        <p:sp>
          <p:nvSpPr>
            <p:cNvPr id="298" name="Freeform 341">
              <a:extLst>
                <a:ext uri="{FF2B5EF4-FFF2-40B4-BE49-F238E27FC236}">
                  <a16:creationId xmlns:a16="http://schemas.microsoft.com/office/drawing/2014/main" id="{50E3A84D-6356-47EB-9E38-977C2BD114B9}"/>
                </a:ext>
              </a:extLst>
            </p:cNvPr>
            <p:cNvSpPr>
              <a:spLocks/>
            </p:cNvSpPr>
            <p:nvPr/>
          </p:nvSpPr>
          <p:spPr bwMode="auto">
            <a:xfrm>
              <a:off x="3695" y="838"/>
              <a:ext cx="67" cy="38"/>
            </a:xfrm>
            <a:custGeom>
              <a:avLst/>
              <a:gdLst>
                <a:gd name="T0" fmla="*/ 0 w 843"/>
                <a:gd name="T1" fmla="*/ 0 h 475"/>
                <a:gd name="T2" fmla="*/ 843 w 843"/>
                <a:gd name="T3" fmla="*/ 0 h 475"/>
                <a:gd name="T4" fmla="*/ 843 w 843"/>
                <a:gd name="T5" fmla="*/ 97 h 475"/>
                <a:gd name="T6" fmla="*/ 752 w 843"/>
                <a:gd name="T7" fmla="*/ 97 h 475"/>
                <a:gd name="T8" fmla="*/ 752 w 843"/>
                <a:gd name="T9" fmla="*/ 139 h 475"/>
                <a:gd name="T10" fmla="*/ 843 w 843"/>
                <a:gd name="T11" fmla="*/ 139 h 475"/>
                <a:gd name="T12" fmla="*/ 843 w 843"/>
                <a:gd name="T13" fmla="*/ 212 h 475"/>
                <a:gd name="T14" fmla="*/ 752 w 843"/>
                <a:gd name="T15" fmla="*/ 212 h 475"/>
                <a:gd name="T16" fmla="*/ 752 w 843"/>
                <a:gd name="T17" fmla="*/ 254 h 475"/>
                <a:gd name="T18" fmla="*/ 843 w 843"/>
                <a:gd name="T19" fmla="*/ 254 h 475"/>
                <a:gd name="T20" fmla="*/ 843 w 843"/>
                <a:gd name="T21" fmla="*/ 329 h 475"/>
                <a:gd name="T22" fmla="*/ 752 w 843"/>
                <a:gd name="T23" fmla="*/ 329 h 475"/>
                <a:gd name="T24" fmla="*/ 752 w 843"/>
                <a:gd name="T25" fmla="*/ 369 h 475"/>
                <a:gd name="T26" fmla="*/ 843 w 843"/>
                <a:gd name="T27" fmla="*/ 369 h 475"/>
                <a:gd name="T28" fmla="*/ 843 w 843"/>
                <a:gd name="T29" fmla="*/ 475 h 475"/>
                <a:gd name="T30" fmla="*/ 39 w 843"/>
                <a:gd name="T31" fmla="*/ 475 h 475"/>
                <a:gd name="T32" fmla="*/ 39 w 843"/>
                <a:gd name="T33" fmla="*/ 73 h 475"/>
                <a:gd name="T34" fmla="*/ 0 w 843"/>
                <a:gd name="T35"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3" h="475">
                  <a:moveTo>
                    <a:pt x="0" y="0"/>
                  </a:moveTo>
                  <a:lnTo>
                    <a:pt x="843" y="0"/>
                  </a:lnTo>
                  <a:lnTo>
                    <a:pt x="843" y="97"/>
                  </a:lnTo>
                  <a:lnTo>
                    <a:pt x="752" y="97"/>
                  </a:lnTo>
                  <a:lnTo>
                    <a:pt x="752" y="139"/>
                  </a:lnTo>
                  <a:lnTo>
                    <a:pt x="843" y="139"/>
                  </a:lnTo>
                  <a:lnTo>
                    <a:pt x="843" y="212"/>
                  </a:lnTo>
                  <a:lnTo>
                    <a:pt x="752" y="212"/>
                  </a:lnTo>
                  <a:lnTo>
                    <a:pt x="752" y="254"/>
                  </a:lnTo>
                  <a:lnTo>
                    <a:pt x="843" y="254"/>
                  </a:lnTo>
                  <a:lnTo>
                    <a:pt x="843" y="329"/>
                  </a:lnTo>
                  <a:lnTo>
                    <a:pt x="752" y="329"/>
                  </a:lnTo>
                  <a:lnTo>
                    <a:pt x="752" y="369"/>
                  </a:lnTo>
                  <a:lnTo>
                    <a:pt x="843" y="369"/>
                  </a:lnTo>
                  <a:lnTo>
                    <a:pt x="843" y="475"/>
                  </a:lnTo>
                  <a:lnTo>
                    <a:pt x="39" y="475"/>
                  </a:lnTo>
                  <a:lnTo>
                    <a:pt x="39" y="73"/>
                  </a:lnTo>
                  <a:lnTo>
                    <a:pt x="0" y="0"/>
                  </a:lnTo>
                  <a:close/>
                </a:path>
              </a:pathLst>
            </a:custGeom>
            <a:solidFill>
              <a:srgbClr val="FFFFFF"/>
            </a:solidFill>
            <a:ln w="3175" cmpd="sng">
              <a:solidFill>
                <a:srgbClr val="FB0129"/>
              </a:solidFill>
              <a:round/>
              <a:headEnd/>
              <a:tailEnd/>
            </a:ln>
          </p:spPr>
          <p:txBody>
            <a:bodyPr/>
            <a:lstStyle/>
            <a:p>
              <a:pPr defTabSz="609539"/>
              <a:endParaRPr lang="en-US" sz="2399" b="1">
                <a:solidFill>
                  <a:srgbClr val="000000"/>
                </a:solidFill>
              </a:endParaRPr>
            </a:p>
          </p:txBody>
        </p:sp>
        <p:sp>
          <p:nvSpPr>
            <p:cNvPr id="299" name="Rectangle 342">
              <a:extLst>
                <a:ext uri="{FF2B5EF4-FFF2-40B4-BE49-F238E27FC236}">
                  <a16:creationId xmlns:a16="http://schemas.microsoft.com/office/drawing/2014/main" id="{55F75ABE-19BF-4C4D-9B0B-37AD1610BA15}"/>
                </a:ext>
              </a:extLst>
            </p:cNvPr>
            <p:cNvSpPr>
              <a:spLocks noChangeArrowheads="1"/>
            </p:cNvSpPr>
            <p:nvPr/>
          </p:nvSpPr>
          <p:spPr bwMode="auto">
            <a:xfrm>
              <a:off x="3772" y="813"/>
              <a:ext cx="8"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300" name="Rectangle 343">
              <a:extLst>
                <a:ext uri="{FF2B5EF4-FFF2-40B4-BE49-F238E27FC236}">
                  <a16:creationId xmlns:a16="http://schemas.microsoft.com/office/drawing/2014/main" id="{FDAFDE15-8479-47B6-AD52-41A1E9C92D4A}"/>
                </a:ext>
              </a:extLst>
            </p:cNvPr>
            <p:cNvSpPr>
              <a:spLocks noChangeArrowheads="1"/>
            </p:cNvSpPr>
            <p:nvPr/>
          </p:nvSpPr>
          <p:spPr bwMode="auto">
            <a:xfrm>
              <a:off x="3785" y="813"/>
              <a:ext cx="8"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301" name="Rectangle 344">
              <a:extLst>
                <a:ext uri="{FF2B5EF4-FFF2-40B4-BE49-F238E27FC236}">
                  <a16:creationId xmlns:a16="http://schemas.microsoft.com/office/drawing/2014/main" id="{211BE937-47DD-43E6-BCA1-8E201549DFAD}"/>
                </a:ext>
              </a:extLst>
            </p:cNvPr>
            <p:cNvSpPr>
              <a:spLocks noChangeArrowheads="1"/>
            </p:cNvSpPr>
            <p:nvPr/>
          </p:nvSpPr>
          <p:spPr bwMode="auto">
            <a:xfrm>
              <a:off x="3798" y="813"/>
              <a:ext cx="8"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302" name="Rectangle 345">
              <a:extLst>
                <a:ext uri="{FF2B5EF4-FFF2-40B4-BE49-F238E27FC236}">
                  <a16:creationId xmlns:a16="http://schemas.microsoft.com/office/drawing/2014/main" id="{E599A978-26AF-40A3-8990-0218E5FA5855}"/>
                </a:ext>
              </a:extLst>
            </p:cNvPr>
            <p:cNvSpPr>
              <a:spLocks noChangeArrowheads="1"/>
            </p:cNvSpPr>
            <p:nvPr/>
          </p:nvSpPr>
          <p:spPr bwMode="auto">
            <a:xfrm>
              <a:off x="3811" y="813"/>
              <a:ext cx="7"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303" name="Rectangle 346">
              <a:extLst>
                <a:ext uri="{FF2B5EF4-FFF2-40B4-BE49-F238E27FC236}">
                  <a16:creationId xmlns:a16="http://schemas.microsoft.com/office/drawing/2014/main" id="{2E1F1A48-123B-4B1D-A095-924813E3CA84}"/>
                </a:ext>
              </a:extLst>
            </p:cNvPr>
            <p:cNvSpPr>
              <a:spLocks noChangeArrowheads="1"/>
            </p:cNvSpPr>
            <p:nvPr/>
          </p:nvSpPr>
          <p:spPr bwMode="auto">
            <a:xfrm>
              <a:off x="3823" y="813"/>
              <a:ext cx="8"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304" name="Rectangle 347">
              <a:extLst>
                <a:ext uri="{FF2B5EF4-FFF2-40B4-BE49-F238E27FC236}">
                  <a16:creationId xmlns:a16="http://schemas.microsoft.com/office/drawing/2014/main" id="{6193E8BA-030E-44C5-B267-DBA1027BAE0D}"/>
                </a:ext>
              </a:extLst>
            </p:cNvPr>
            <p:cNvSpPr>
              <a:spLocks noChangeArrowheads="1"/>
            </p:cNvSpPr>
            <p:nvPr/>
          </p:nvSpPr>
          <p:spPr bwMode="auto">
            <a:xfrm>
              <a:off x="3703" y="845"/>
              <a:ext cx="8"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305" name="Rectangle 348">
              <a:extLst>
                <a:ext uri="{FF2B5EF4-FFF2-40B4-BE49-F238E27FC236}">
                  <a16:creationId xmlns:a16="http://schemas.microsoft.com/office/drawing/2014/main" id="{F003D38D-3AAE-48F3-9164-FCCEED183B8A}"/>
                </a:ext>
              </a:extLst>
            </p:cNvPr>
            <p:cNvSpPr>
              <a:spLocks noChangeArrowheads="1"/>
            </p:cNvSpPr>
            <p:nvPr/>
          </p:nvSpPr>
          <p:spPr bwMode="auto">
            <a:xfrm>
              <a:off x="3716" y="845"/>
              <a:ext cx="8"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306" name="Rectangle 349">
              <a:extLst>
                <a:ext uri="{FF2B5EF4-FFF2-40B4-BE49-F238E27FC236}">
                  <a16:creationId xmlns:a16="http://schemas.microsoft.com/office/drawing/2014/main" id="{B0E4CE95-9349-4D0A-AAA1-6986A329F35D}"/>
                </a:ext>
              </a:extLst>
            </p:cNvPr>
            <p:cNvSpPr>
              <a:spLocks noChangeArrowheads="1"/>
            </p:cNvSpPr>
            <p:nvPr/>
          </p:nvSpPr>
          <p:spPr bwMode="auto">
            <a:xfrm>
              <a:off x="3729" y="845"/>
              <a:ext cx="8"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307" name="Rectangle 350">
              <a:extLst>
                <a:ext uri="{FF2B5EF4-FFF2-40B4-BE49-F238E27FC236}">
                  <a16:creationId xmlns:a16="http://schemas.microsoft.com/office/drawing/2014/main" id="{C458E25E-CF9C-4FF5-8403-382B59D267E4}"/>
                </a:ext>
              </a:extLst>
            </p:cNvPr>
            <p:cNvSpPr>
              <a:spLocks noChangeArrowheads="1"/>
            </p:cNvSpPr>
            <p:nvPr/>
          </p:nvSpPr>
          <p:spPr bwMode="auto">
            <a:xfrm>
              <a:off x="3742" y="845"/>
              <a:ext cx="8"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308" name="Rectangle 351">
              <a:extLst>
                <a:ext uri="{FF2B5EF4-FFF2-40B4-BE49-F238E27FC236}">
                  <a16:creationId xmlns:a16="http://schemas.microsoft.com/office/drawing/2014/main" id="{36F16993-4B5A-4057-8FA1-ABC4EC19F8AC}"/>
                </a:ext>
              </a:extLst>
            </p:cNvPr>
            <p:cNvSpPr>
              <a:spLocks noChangeArrowheads="1"/>
            </p:cNvSpPr>
            <p:nvPr/>
          </p:nvSpPr>
          <p:spPr bwMode="auto">
            <a:xfrm>
              <a:off x="3703" y="855"/>
              <a:ext cx="8" cy="3"/>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309" name="Rectangle 352">
              <a:extLst>
                <a:ext uri="{FF2B5EF4-FFF2-40B4-BE49-F238E27FC236}">
                  <a16:creationId xmlns:a16="http://schemas.microsoft.com/office/drawing/2014/main" id="{7221121D-0D68-4269-86A2-CE5F8BAA95E2}"/>
                </a:ext>
              </a:extLst>
            </p:cNvPr>
            <p:cNvSpPr>
              <a:spLocks noChangeArrowheads="1"/>
            </p:cNvSpPr>
            <p:nvPr/>
          </p:nvSpPr>
          <p:spPr bwMode="auto">
            <a:xfrm>
              <a:off x="3716" y="855"/>
              <a:ext cx="8" cy="3"/>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310" name="Rectangle 353">
              <a:extLst>
                <a:ext uri="{FF2B5EF4-FFF2-40B4-BE49-F238E27FC236}">
                  <a16:creationId xmlns:a16="http://schemas.microsoft.com/office/drawing/2014/main" id="{151499A1-73A6-4A2F-9B65-49582E9944F6}"/>
                </a:ext>
              </a:extLst>
            </p:cNvPr>
            <p:cNvSpPr>
              <a:spLocks noChangeArrowheads="1"/>
            </p:cNvSpPr>
            <p:nvPr/>
          </p:nvSpPr>
          <p:spPr bwMode="auto">
            <a:xfrm>
              <a:off x="3729" y="855"/>
              <a:ext cx="8" cy="3"/>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311" name="Rectangle 354">
              <a:extLst>
                <a:ext uri="{FF2B5EF4-FFF2-40B4-BE49-F238E27FC236}">
                  <a16:creationId xmlns:a16="http://schemas.microsoft.com/office/drawing/2014/main" id="{7CFE572F-EF97-48B9-939F-6C3751C0589A}"/>
                </a:ext>
              </a:extLst>
            </p:cNvPr>
            <p:cNvSpPr>
              <a:spLocks noChangeArrowheads="1"/>
            </p:cNvSpPr>
            <p:nvPr/>
          </p:nvSpPr>
          <p:spPr bwMode="auto">
            <a:xfrm>
              <a:off x="3742" y="855"/>
              <a:ext cx="8" cy="3"/>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312" name="Rectangle 355">
              <a:extLst>
                <a:ext uri="{FF2B5EF4-FFF2-40B4-BE49-F238E27FC236}">
                  <a16:creationId xmlns:a16="http://schemas.microsoft.com/office/drawing/2014/main" id="{B0391C3D-0BCD-439B-88A7-F47D2C49AFB9}"/>
                </a:ext>
              </a:extLst>
            </p:cNvPr>
            <p:cNvSpPr>
              <a:spLocks noChangeArrowheads="1"/>
            </p:cNvSpPr>
            <p:nvPr/>
          </p:nvSpPr>
          <p:spPr bwMode="auto">
            <a:xfrm>
              <a:off x="3703" y="864"/>
              <a:ext cx="8" cy="3"/>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313" name="Rectangle 356">
              <a:extLst>
                <a:ext uri="{FF2B5EF4-FFF2-40B4-BE49-F238E27FC236}">
                  <a16:creationId xmlns:a16="http://schemas.microsoft.com/office/drawing/2014/main" id="{D7B0195B-BA26-40CA-BB3D-C370F8D310FB}"/>
                </a:ext>
              </a:extLst>
            </p:cNvPr>
            <p:cNvSpPr>
              <a:spLocks noChangeArrowheads="1"/>
            </p:cNvSpPr>
            <p:nvPr/>
          </p:nvSpPr>
          <p:spPr bwMode="auto">
            <a:xfrm>
              <a:off x="3716" y="864"/>
              <a:ext cx="8" cy="3"/>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314" name="Rectangle 357">
              <a:extLst>
                <a:ext uri="{FF2B5EF4-FFF2-40B4-BE49-F238E27FC236}">
                  <a16:creationId xmlns:a16="http://schemas.microsoft.com/office/drawing/2014/main" id="{C49E9E06-0D22-447F-86CD-C101CD047A31}"/>
                </a:ext>
              </a:extLst>
            </p:cNvPr>
            <p:cNvSpPr>
              <a:spLocks noChangeArrowheads="1"/>
            </p:cNvSpPr>
            <p:nvPr/>
          </p:nvSpPr>
          <p:spPr bwMode="auto">
            <a:xfrm>
              <a:off x="3729" y="864"/>
              <a:ext cx="8" cy="3"/>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315" name="Rectangle 358">
              <a:extLst>
                <a:ext uri="{FF2B5EF4-FFF2-40B4-BE49-F238E27FC236}">
                  <a16:creationId xmlns:a16="http://schemas.microsoft.com/office/drawing/2014/main" id="{195B4E02-8559-4D6C-A354-050F659A0914}"/>
                </a:ext>
              </a:extLst>
            </p:cNvPr>
            <p:cNvSpPr>
              <a:spLocks noChangeArrowheads="1"/>
            </p:cNvSpPr>
            <p:nvPr/>
          </p:nvSpPr>
          <p:spPr bwMode="auto">
            <a:xfrm>
              <a:off x="3742" y="864"/>
              <a:ext cx="8" cy="3"/>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grpSp>
      <p:sp>
        <p:nvSpPr>
          <p:cNvPr id="316" name="RectanNmTbOJYOHfEaiMu14mxvnFw">
            <a:extLst>
              <a:ext uri="{FF2B5EF4-FFF2-40B4-BE49-F238E27FC236}">
                <a16:creationId xmlns:a16="http://schemas.microsoft.com/office/drawing/2014/main" id="{28C223B3-887E-4A41-8441-BD0E842AB89E}"/>
              </a:ext>
            </a:extLst>
          </p:cNvPr>
          <p:cNvSpPr>
            <a:spLocks noChangeArrowheads="1"/>
          </p:cNvSpPr>
          <p:nvPr>
            <p:custDataLst>
              <p:tags r:id="rId155"/>
            </p:custDataLst>
          </p:nvPr>
        </p:nvSpPr>
        <p:spPr bwMode="auto">
          <a:xfrm>
            <a:off x="6582411" y="343778"/>
            <a:ext cx="1257264" cy="185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912813">
              <a:buSzPct val="120000"/>
              <a:defRPr sz="1600">
                <a:solidFill>
                  <a:schemeClr val="tx1"/>
                </a:solidFill>
                <a:latin typeface="Arial" panose="020B0604020202020204" pitchFamily="34" charset="0"/>
              </a:defRPr>
            </a:lvl1pPr>
            <a:lvl2pPr marL="147638" indent="-146050" defTabSz="912813">
              <a:buSzPct val="120000"/>
              <a:buChar char="•"/>
              <a:defRPr sz="1600">
                <a:solidFill>
                  <a:schemeClr val="tx1"/>
                </a:solidFill>
                <a:latin typeface="Arial" panose="020B0604020202020204" pitchFamily="34" charset="0"/>
              </a:defRPr>
            </a:lvl2pPr>
            <a:lvl3pPr marL="301625" indent="-152400" defTabSz="912813">
              <a:buChar char="–"/>
              <a:defRPr sz="1600">
                <a:solidFill>
                  <a:schemeClr val="tx1"/>
                </a:solidFill>
                <a:latin typeface="Arial" panose="020B0604020202020204" pitchFamily="34" charset="0"/>
              </a:defRPr>
            </a:lvl3pPr>
            <a:lvl4pPr marL="441325" indent="-138113" defTabSz="912813">
              <a:buSzPct val="89000"/>
              <a:buChar char="•"/>
              <a:defRPr sz="1600">
                <a:solidFill>
                  <a:schemeClr val="tx1"/>
                </a:solidFill>
                <a:latin typeface="Arial" panose="020B0604020202020204" pitchFamily="34" charset="0"/>
              </a:defRPr>
            </a:lvl4pPr>
            <a:lvl5pPr marL="593725" indent="-150813" defTabSz="912813">
              <a:buSzPct val="75000"/>
              <a:buChar char="–"/>
              <a:defRPr sz="1600">
                <a:solidFill>
                  <a:schemeClr val="tx1"/>
                </a:solidFill>
                <a:latin typeface="Arial" panose="020B0604020202020204" pitchFamily="34" charset="0"/>
              </a:defRPr>
            </a:lvl5pPr>
            <a:lvl6pPr marL="1050925" indent="-150813" defTabSz="912813" fontAlgn="base">
              <a:spcBef>
                <a:spcPct val="0"/>
              </a:spcBef>
              <a:spcAft>
                <a:spcPct val="0"/>
              </a:spcAft>
              <a:buSzPct val="75000"/>
              <a:buChar char="–"/>
              <a:defRPr sz="1600">
                <a:solidFill>
                  <a:schemeClr val="tx1"/>
                </a:solidFill>
                <a:latin typeface="Arial" panose="020B0604020202020204" pitchFamily="34" charset="0"/>
              </a:defRPr>
            </a:lvl6pPr>
            <a:lvl7pPr marL="1508125" indent="-150813" defTabSz="912813" fontAlgn="base">
              <a:spcBef>
                <a:spcPct val="0"/>
              </a:spcBef>
              <a:spcAft>
                <a:spcPct val="0"/>
              </a:spcAft>
              <a:buSzPct val="75000"/>
              <a:buChar char="–"/>
              <a:defRPr sz="1600">
                <a:solidFill>
                  <a:schemeClr val="tx1"/>
                </a:solidFill>
                <a:latin typeface="Arial" panose="020B0604020202020204" pitchFamily="34" charset="0"/>
              </a:defRPr>
            </a:lvl7pPr>
            <a:lvl8pPr marL="1965325" indent="-150813" defTabSz="912813" fontAlgn="base">
              <a:spcBef>
                <a:spcPct val="0"/>
              </a:spcBef>
              <a:spcAft>
                <a:spcPct val="0"/>
              </a:spcAft>
              <a:buSzPct val="75000"/>
              <a:buChar char="–"/>
              <a:defRPr sz="1600">
                <a:solidFill>
                  <a:schemeClr val="tx1"/>
                </a:solidFill>
                <a:latin typeface="Arial" panose="020B0604020202020204" pitchFamily="34" charset="0"/>
              </a:defRPr>
            </a:lvl8pPr>
            <a:lvl9pPr marL="2422525" indent="-150813" defTabSz="912813" fontAlgn="base">
              <a:spcBef>
                <a:spcPct val="0"/>
              </a:spcBef>
              <a:spcAft>
                <a:spcPct val="0"/>
              </a:spcAft>
              <a:buSzPct val="75000"/>
              <a:buChar char="–"/>
              <a:defRPr sz="1600">
                <a:solidFill>
                  <a:schemeClr val="tx1"/>
                </a:solidFill>
                <a:latin typeface="Arial" panose="020B0604020202020204" pitchFamily="34" charset="0"/>
              </a:defRPr>
            </a:lvl9pPr>
          </a:lstStyle>
          <a:p>
            <a:pPr defTabSz="912539"/>
            <a:r>
              <a:rPr lang="en-HK" altLang="en-US" sz="1200" b="1" dirty="0">
                <a:solidFill>
                  <a:srgbClr val="000000"/>
                </a:solidFill>
                <a:latin typeface="+mn-lt"/>
              </a:rPr>
              <a:t>Factory</a:t>
            </a:r>
          </a:p>
        </p:txBody>
      </p:sp>
      <p:sp>
        <p:nvSpPr>
          <p:cNvPr id="317" name="RectanNmTbOJYOHfEaiMu14mxvnFw">
            <a:extLst>
              <a:ext uri="{FF2B5EF4-FFF2-40B4-BE49-F238E27FC236}">
                <a16:creationId xmlns:a16="http://schemas.microsoft.com/office/drawing/2014/main" id="{45E67A3C-AA79-4C02-BA86-0BC537044B94}"/>
              </a:ext>
            </a:extLst>
          </p:cNvPr>
          <p:cNvSpPr>
            <a:spLocks noChangeArrowheads="1"/>
          </p:cNvSpPr>
          <p:nvPr>
            <p:custDataLst>
              <p:tags r:id="rId156"/>
            </p:custDataLst>
          </p:nvPr>
        </p:nvSpPr>
        <p:spPr bwMode="auto">
          <a:xfrm>
            <a:off x="6582411" y="590813"/>
            <a:ext cx="1542341"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912813">
              <a:buSzPct val="120000"/>
              <a:defRPr sz="1600">
                <a:solidFill>
                  <a:schemeClr val="tx1"/>
                </a:solidFill>
                <a:latin typeface="Arial" panose="020B0604020202020204" pitchFamily="34" charset="0"/>
              </a:defRPr>
            </a:lvl1pPr>
            <a:lvl2pPr marL="147638" indent="-146050" defTabSz="912813">
              <a:buSzPct val="120000"/>
              <a:buChar char="•"/>
              <a:defRPr sz="1600">
                <a:solidFill>
                  <a:schemeClr val="tx1"/>
                </a:solidFill>
                <a:latin typeface="Arial" panose="020B0604020202020204" pitchFamily="34" charset="0"/>
              </a:defRPr>
            </a:lvl2pPr>
            <a:lvl3pPr marL="301625" indent="-152400" defTabSz="912813">
              <a:buChar char="–"/>
              <a:defRPr sz="1600">
                <a:solidFill>
                  <a:schemeClr val="tx1"/>
                </a:solidFill>
                <a:latin typeface="Arial" panose="020B0604020202020204" pitchFamily="34" charset="0"/>
              </a:defRPr>
            </a:lvl3pPr>
            <a:lvl4pPr marL="441325" indent="-138113" defTabSz="912813">
              <a:buSzPct val="89000"/>
              <a:buChar char="•"/>
              <a:defRPr sz="1600">
                <a:solidFill>
                  <a:schemeClr val="tx1"/>
                </a:solidFill>
                <a:latin typeface="Arial" panose="020B0604020202020204" pitchFamily="34" charset="0"/>
              </a:defRPr>
            </a:lvl4pPr>
            <a:lvl5pPr marL="593725" indent="-150813" defTabSz="912813">
              <a:buSzPct val="75000"/>
              <a:buChar char="–"/>
              <a:defRPr sz="1600">
                <a:solidFill>
                  <a:schemeClr val="tx1"/>
                </a:solidFill>
                <a:latin typeface="Arial" panose="020B0604020202020204" pitchFamily="34" charset="0"/>
              </a:defRPr>
            </a:lvl5pPr>
            <a:lvl6pPr marL="1050925" indent="-150813" defTabSz="912813" fontAlgn="base">
              <a:spcBef>
                <a:spcPct val="0"/>
              </a:spcBef>
              <a:spcAft>
                <a:spcPct val="0"/>
              </a:spcAft>
              <a:buSzPct val="75000"/>
              <a:buChar char="–"/>
              <a:defRPr sz="1600">
                <a:solidFill>
                  <a:schemeClr val="tx1"/>
                </a:solidFill>
                <a:latin typeface="Arial" panose="020B0604020202020204" pitchFamily="34" charset="0"/>
              </a:defRPr>
            </a:lvl6pPr>
            <a:lvl7pPr marL="1508125" indent="-150813" defTabSz="912813" fontAlgn="base">
              <a:spcBef>
                <a:spcPct val="0"/>
              </a:spcBef>
              <a:spcAft>
                <a:spcPct val="0"/>
              </a:spcAft>
              <a:buSzPct val="75000"/>
              <a:buChar char="–"/>
              <a:defRPr sz="1600">
                <a:solidFill>
                  <a:schemeClr val="tx1"/>
                </a:solidFill>
                <a:latin typeface="Arial" panose="020B0604020202020204" pitchFamily="34" charset="0"/>
              </a:defRPr>
            </a:lvl7pPr>
            <a:lvl8pPr marL="1965325" indent="-150813" defTabSz="912813" fontAlgn="base">
              <a:spcBef>
                <a:spcPct val="0"/>
              </a:spcBef>
              <a:spcAft>
                <a:spcPct val="0"/>
              </a:spcAft>
              <a:buSzPct val="75000"/>
              <a:buChar char="–"/>
              <a:defRPr sz="1600">
                <a:solidFill>
                  <a:schemeClr val="tx1"/>
                </a:solidFill>
                <a:latin typeface="Arial" panose="020B0604020202020204" pitchFamily="34" charset="0"/>
              </a:defRPr>
            </a:lvl8pPr>
            <a:lvl9pPr marL="2422525" indent="-150813" defTabSz="912813" fontAlgn="base">
              <a:spcBef>
                <a:spcPct val="0"/>
              </a:spcBef>
              <a:spcAft>
                <a:spcPct val="0"/>
              </a:spcAft>
              <a:buSzPct val="75000"/>
              <a:buChar char="–"/>
              <a:defRPr sz="1600">
                <a:solidFill>
                  <a:schemeClr val="tx1"/>
                </a:solidFill>
                <a:latin typeface="Arial" panose="020B0604020202020204" pitchFamily="34" charset="0"/>
              </a:defRPr>
            </a:lvl9pPr>
          </a:lstStyle>
          <a:p>
            <a:pPr defTabSz="912539"/>
            <a:r>
              <a:rPr lang="en-HK" altLang="en-US" sz="1200" b="1" dirty="0">
                <a:solidFill>
                  <a:srgbClr val="000000"/>
                </a:solidFill>
                <a:latin typeface="+mn-lt"/>
              </a:rPr>
              <a:t>Production &amp; Sales</a:t>
            </a:r>
          </a:p>
        </p:txBody>
      </p:sp>
      <p:sp>
        <p:nvSpPr>
          <p:cNvPr id="318" name="Rectangle 361">
            <a:extLst>
              <a:ext uri="{FF2B5EF4-FFF2-40B4-BE49-F238E27FC236}">
                <a16:creationId xmlns:a16="http://schemas.microsoft.com/office/drawing/2014/main" id="{F26E1CC2-9C54-4964-B05F-BB2DF4F1F08F}"/>
              </a:ext>
            </a:extLst>
          </p:cNvPr>
          <p:cNvSpPr>
            <a:spLocks noChangeArrowheads="1"/>
          </p:cNvSpPr>
          <p:nvPr/>
        </p:nvSpPr>
        <p:spPr bwMode="auto">
          <a:xfrm>
            <a:off x="6256163" y="597556"/>
            <a:ext cx="252405" cy="139696"/>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09539"/>
            <a:endParaRPr lang="en-US" sz="2399" b="1">
              <a:solidFill>
                <a:srgbClr val="000000"/>
              </a:solidFill>
            </a:endParaRPr>
          </a:p>
        </p:txBody>
      </p:sp>
      <p:sp>
        <p:nvSpPr>
          <p:cNvPr id="319" name="RectanNmTbOJYOHfEaiMu14mxvnFw">
            <a:extLst>
              <a:ext uri="{FF2B5EF4-FFF2-40B4-BE49-F238E27FC236}">
                <a16:creationId xmlns:a16="http://schemas.microsoft.com/office/drawing/2014/main" id="{7D43CD78-1726-448A-9E44-F5B5698A4EE8}"/>
              </a:ext>
            </a:extLst>
          </p:cNvPr>
          <p:cNvSpPr>
            <a:spLocks noChangeArrowheads="1"/>
          </p:cNvSpPr>
          <p:nvPr>
            <p:custDataLst>
              <p:tags r:id="rId157"/>
            </p:custDataLst>
          </p:nvPr>
        </p:nvSpPr>
        <p:spPr bwMode="auto">
          <a:xfrm>
            <a:off x="6584764" y="779398"/>
            <a:ext cx="1484989"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912813">
              <a:buSzPct val="120000"/>
              <a:defRPr sz="1600">
                <a:solidFill>
                  <a:schemeClr val="tx1"/>
                </a:solidFill>
                <a:latin typeface="Arial" panose="020B0604020202020204" pitchFamily="34" charset="0"/>
              </a:defRPr>
            </a:lvl1pPr>
            <a:lvl2pPr marL="147638" indent="-146050" defTabSz="912813">
              <a:buSzPct val="120000"/>
              <a:buChar char="•"/>
              <a:defRPr sz="1600">
                <a:solidFill>
                  <a:schemeClr val="tx1"/>
                </a:solidFill>
                <a:latin typeface="Arial" panose="020B0604020202020204" pitchFamily="34" charset="0"/>
              </a:defRPr>
            </a:lvl2pPr>
            <a:lvl3pPr marL="301625" indent="-152400" defTabSz="912813">
              <a:buChar char="–"/>
              <a:defRPr sz="1600">
                <a:solidFill>
                  <a:schemeClr val="tx1"/>
                </a:solidFill>
                <a:latin typeface="Arial" panose="020B0604020202020204" pitchFamily="34" charset="0"/>
              </a:defRPr>
            </a:lvl3pPr>
            <a:lvl4pPr marL="441325" indent="-138113" defTabSz="912813">
              <a:buSzPct val="89000"/>
              <a:buChar char="•"/>
              <a:defRPr sz="1600">
                <a:solidFill>
                  <a:schemeClr val="tx1"/>
                </a:solidFill>
                <a:latin typeface="Arial" panose="020B0604020202020204" pitchFamily="34" charset="0"/>
              </a:defRPr>
            </a:lvl4pPr>
            <a:lvl5pPr marL="593725" indent="-150813" defTabSz="912813">
              <a:buSzPct val="75000"/>
              <a:buChar char="–"/>
              <a:defRPr sz="1600">
                <a:solidFill>
                  <a:schemeClr val="tx1"/>
                </a:solidFill>
                <a:latin typeface="Arial" panose="020B0604020202020204" pitchFamily="34" charset="0"/>
              </a:defRPr>
            </a:lvl5pPr>
            <a:lvl6pPr marL="1050925" indent="-150813" defTabSz="912813" fontAlgn="base">
              <a:spcBef>
                <a:spcPct val="0"/>
              </a:spcBef>
              <a:spcAft>
                <a:spcPct val="0"/>
              </a:spcAft>
              <a:buSzPct val="75000"/>
              <a:buChar char="–"/>
              <a:defRPr sz="1600">
                <a:solidFill>
                  <a:schemeClr val="tx1"/>
                </a:solidFill>
                <a:latin typeface="Arial" panose="020B0604020202020204" pitchFamily="34" charset="0"/>
              </a:defRPr>
            </a:lvl6pPr>
            <a:lvl7pPr marL="1508125" indent="-150813" defTabSz="912813" fontAlgn="base">
              <a:spcBef>
                <a:spcPct val="0"/>
              </a:spcBef>
              <a:spcAft>
                <a:spcPct val="0"/>
              </a:spcAft>
              <a:buSzPct val="75000"/>
              <a:buChar char="–"/>
              <a:defRPr sz="1600">
                <a:solidFill>
                  <a:schemeClr val="tx1"/>
                </a:solidFill>
                <a:latin typeface="Arial" panose="020B0604020202020204" pitchFamily="34" charset="0"/>
              </a:defRPr>
            </a:lvl7pPr>
            <a:lvl8pPr marL="1965325" indent="-150813" defTabSz="912813" fontAlgn="base">
              <a:spcBef>
                <a:spcPct val="0"/>
              </a:spcBef>
              <a:spcAft>
                <a:spcPct val="0"/>
              </a:spcAft>
              <a:buSzPct val="75000"/>
              <a:buChar char="–"/>
              <a:defRPr sz="1600">
                <a:solidFill>
                  <a:schemeClr val="tx1"/>
                </a:solidFill>
                <a:latin typeface="Arial" panose="020B0604020202020204" pitchFamily="34" charset="0"/>
              </a:defRPr>
            </a:lvl8pPr>
            <a:lvl9pPr marL="2422525" indent="-150813" defTabSz="912813" fontAlgn="base">
              <a:spcBef>
                <a:spcPct val="0"/>
              </a:spcBef>
              <a:spcAft>
                <a:spcPct val="0"/>
              </a:spcAft>
              <a:buSzPct val="75000"/>
              <a:buChar char="–"/>
              <a:defRPr sz="1600">
                <a:solidFill>
                  <a:schemeClr val="tx1"/>
                </a:solidFill>
                <a:latin typeface="Arial" panose="020B0604020202020204" pitchFamily="34" charset="0"/>
              </a:defRPr>
            </a:lvl9pPr>
          </a:lstStyle>
          <a:p>
            <a:pPr defTabSz="912539"/>
            <a:r>
              <a:rPr lang="en-HK" altLang="en-US" sz="1200" b="1" dirty="0">
                <a:solidFill>
                  <a:srgbClr val="000000"/>
                </a:solidFill>
                <a:latin typeface="+mn-lt"/>
              </a:rPr>
              <a:t>Sales offices only</a:t>
            </a:r>
          </a:p>
        </p:txBody>
      </p:sp>
      <p:sp>
        <p:nvSpPr>
          <p:cNvPr id="320" name="Rectangle 363">
            <a:extLst>
              <a:ext uri="{FF2B5EF4-FFF2-40B4-BE49-F238E27FC236}">
                <a16:creationId xmlns:a16="http://schemas.microsoft.com/office/drawing/2014/main" id="{D3328B2E-547A-41DF-9081-D3A41779CB09}"/>
              </a:ext>
            </a:extLst>
          </p:cNvPr>
          <p:cNvSpPr>
            <a:spLocks noChangeArrowheads="1"/>
          </p:cNvSpPr>
          <p:nvPr/>
        </p:nvSpPr>
        <p:spPr bwMode="auto">
          <a:xfrm>
            <a:off x="6250606" y="801883"/>
            <a:ext cx="252405" cy="139696"/>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09539"/>
            <a:endParaRPr lang="en-US" sz="2399" b="1">
              <a:solidFill>
                <a:srgbClr val="000000"/>
              </a:solidFill>
            </a:endParaRPr>
          </a:p>
        </p:txBody>
      </p:sp>
      <p:grpSp>
        <p:nvGrpSpPr>
          <p:cNvPr id="321" name="Group 364">
            <a:extLst>
              <a:ext uri="{FF2B5EF4-FFF2-40B4-BE49-F238E27FC236}">
                <a16:creationId xmlns:a16="http://schemas.microsoft.com/office/drawing/2014/main" id="{EB00A04F-220A-4649-B82C-3E511E6AA77E}"/>
              </a:ext>
            </a:extLst>
          </p:cNvPr>
          <p:cNvGrpSpPr>
            <a:grpSpLocks/>
          </p:cNvGrpSpPr>
          <p:nvPr/>
        </p:nvGrpSpPr>
        <p:grpSpPr bwMode="auto">
          <a:xfrm>
            <a:off x="6854789" y="4039301"/>
            <a:ext cx="209544" cy="141284"/>
            <a:chOff x="3689" y="761"/>
            <a:chExt cx="175" cy="118"/>
          </a:xfrm>
        </p:grpSpPr>
        <p:sp>
          <p:nvSpPr>
            <p:cNvPr id="322" name="Freeform 365">
              <a:extLst>
                <a:ext uri="{FF2B5EF4-FFF2-40B4-BE49-F238E27FC236}">
                  <a16:creationId xmlns:a16="http://schemas.microsoft.com/office/drawing/2014/main" id="{1088829A-AF32-4B54-BF0D-A5A96B5E23D2}"/>
                </a:ext>
              </a:extLst>
            </p:cNvPr>
            <p:cNvSpPr>
              <a:spLocks/>
            </p:cNvSpPr>
            <p:nvPr/>
          </p:nvSpPr>
          <p:spPr bwMode="auto">
            <a:xfrm>
              <a:off x="3689" y="761"/>
              <a:ext cx="175" cy="118"/>
            </a:xfrm>
            <a:custGeom>
              <a:avLst/>
              <a:gdLst>
                <a:gd name="T0" fmla="*/ 2042 w 2187"/>
                <a:gd name="T1" fmla="*/ 797 h 1474"/>
                <a:gd name="T2" fmla="*/ 1945 w 2187"/>
                <a:gd name="T3" fmla="*/ 894 h 1474"/>
                <a:gd name="T4" fmla="*/ 1945 w 2187"/>
                <a:gd name="T5" fmla="*/ 658 h 1474"/>
                <a:gd name="T6" fmla="*/ 2005 w 2187"/>
                <a:gd name="T7" fmla="*/ 543 h 1474"/>
                <a:gd name="T8" fmla="*/ 912 w 2187"/>
                <a:gd name="T9" fmla="*/ 543 h 1474"/>
                <a:gd name="T10" fmla="*/ 912 w 2187"/>
                <a:gd name="T11" fmla="*/ 916 h 1474"/>
                <a:gd name="T12" fmla="*/ 755 w 2187"/>
                <a:gd name="T13" fmla="*/ 916 h 1474"/>
                <a:gd name="T14" fmla="*/ 708 w 2187"/>
                <a:gd name="T15" fmla="*/ 0 h 1474"/>
                <a:gd name="T16" fmla="*/ 541 w 2187"/>
                <a:gd name="T17" fmla="*/ 0 h 1474"/>
                <a:gd name="T18" fmla="*/ 503 w 2187"/>
                <a:gd name="T19" fmla="*/ 916 h 1474"/>
                <a:gd name="T20" fmla="*/ 466 w 2187"/>
                <a:gd name="T21" fmla="*/ 916 h 1474"/>
                <a:gd name="T22" fmla="*/ 419 w 2187"/>
                <a:gd name="T23" fmla="*/ 0 h 1474"/>
                <a:gd name="T24" fmla="*/ 251 w 2187"/>
                <a:gd name="T25" fmla="*/ 0 h 1474"/>
                <a:gd name="T26" fmla="*/ 213 w 2187"/>
                <a:gd name="T27" fmla="*/ 916 h 1474"/>
                <a:gd name="T28" fmla="*/ 0 w 2187"/>
                <a:gd name="T29" fmla="*/ 916 h 1474"/>
                <a:gd name="T30" fmla="*/ 67 w 2187"/>
                <a:gd name="T31" fmla="*/ 1040 h 1474"/>
                <a:gd name="T32" fmla="*/ 67 w 2187"/>
                <a:gd name="T33" fmla="*/ 1474 h 1474"/>
                <a:gd name="T34" fmla="*/ 2187 w 2187"/>
                <a:gd name="T35" fmla="*/ 1474 h 1474"/>
                <a:gd name="T36" fmla="*/ 2187 w 2187"/>
                <a:gd name="T37" fmla="*/ 953 h 1474"/>
                <a:gd name="T38" fmla="*/ 2042 w 2187"/>
                <a:gd name="T39" fmla="*/ 797 h 1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87" h="1474">
                  <a:moveTo>
                    <a:pt x="2042" y="797"/>
                  </a:moveTo>
                  <a:lnTo>
                    <a:pt x="1945" y="894"/>
                  </a:lnTo>
                  <a:lnTo>
                    <a:pt x="1945" y="658"/>
                  </a:lnTo>
                  <a:lnTo>
                    <a:pt x="2005" y="543"/>
                  </a:lnTo>
                  <a:lnTo>
                    <a:pt x="912" y="543"/>
                  </a:lnTo>
                  <a:lnTo>
                    <a:pt x="912" y="916"/>
                  </a:lnTo>
                  <a:lnTo>
                    <a:pt x="755" y="916"/>
                  </a:lnTo>
                  <a:lnTo>
                    <a:pt x="708" y="0"/>
                  </a:lnTo>
                  <a:lnTo>
                    <a:pt x="541" y="0"/>
                  </a:lnTo>
                  <a:lnTo>
                    <a:pt x="503" y="916"/>
                  </a:lnTo>
                  <a:lnTo>
                    <a:pt x="466" y="916"/>
                  </a:lnTo>
                  <a:lnTo>
                    <a:pt x="419" y="0"/>
                  </a:lnTo>
                  <a:lnTo>
                    <a:pt x="251" y="0"/>
                  </a:lnTo>
                  <a:lnTo>
                    <a:pt x="213" y="916"/>
                  </a:lnTo>
                  <a:lnTo>
                    <a:pt x="0" y="916"/>
                  </a:lnTo>
                  <a:lnTo>
                    <a:pt x="67" y="1040"/>
                  </a:lnTo>
                  <a:lnTo>
                    <a:pt x="67" y="1474"/>
                  </a:lnTo>
                  <a:lnTo>
                    <a:pt x="2187" y="1474"/>
                  </a:lnTo>
                  <a:lnTo>
                    <a:pt x="2187" y="953"/>
                  </a:lnTo>
                  <a:lnTo>
                    <a:pt x="2042" y="797"/>
                  </a:lnTo>
                  <a:close/>
                </a:path>
              </a:pathLst>
            </a:custGeom>
            <a:solidFill>
              <a:srgbClr val="000000"/>
            </a:solidFill>
            <a:ln w="3175" cmpd="sng">
              <a:solidFill>
                <a:srgbClr val="FB0129"/>
              </a:solidFill>
              <a:round/>
              <a:headEnd/>
              <a:tailEnd/>
            </a:ln>
          </p:spPr>
          <p:txBody>
            <a:bodyPr/>
            <a:lstStyle/>
            <a:p>
              <a:pPr defTabSz="609539"/>
              <a:endParaRPr lang="en-US" sz="2399">
                <a:solidFill>
                  <a:srgbClr val="000000"/>
                </a:solidFill>
              </a:endParaRPr>
            </a:p>
          </p:txBody>
        </p:sp>
        <p:sp>
          <p:nvSpPr>
            <p:cNvPr id="323" name="Freeform 366">
              <a:extLst>
                <a:ext uri="{FF2B5EF4-FFF2-40B4-BE49-F238E27FC236}">
                  <a16:creationId xmlns:a16="http://schemas.microsoft.com/office/drawing/2014/main" id="{32E14C64-FC31-4E72-B5FB-80D5DE3B96AB}"/>
                </a:ext>
              </a:extLst>
            </p:cNvPr>
            <p:cNvSpPr>
              <a:spLocks/>
            </p:cNvSpPr>
            <p:nvPr/>
          </p:nvSpPr>
          <p:spPr bwMode="auto">
            <a:xfrm>
              <a:off x="3787" y="829"/>
              <a:ext cx="74" cy="47"/>
            </a:xfrm>
            <a:custGeom>
              <a:avLst/>
              <a:gdLst>
                <a:gd name="T0" fmla="*/ 923 w 923"/>
                <a:gd name="T1" fmla="*/ 116 h 579"/>
                <a:gd name="T2" fmla="*/ 923 w 923"/>
                <a:gd name="T3" fmla="*/ 366 h 579"/>
                <a:gd name="T4" fmla="*/ 473 w 923"/>
                <a:gd name="T5" fmla="*/ 366 h 579"/>
                <a:gd name="T6" fmla="*/ 473 w 923"/>
                <a:gd name="T7" fmla="*/ 579 h 579"/>
                <a:gd name="T8" fmla="*/ 0 w 923"/>
                <a:gd name="T9" fmla="*/ 579 h 579"/>
                <a:gd name="T10" fmla="*/ 0 w 923"/>
                <a:gd name="T11" fmla="*/ 149 h 579"/>
                <a:gd name="T12" fmla="*/ 122 w 923"/>
                <a:gd name="T13" fmla="*/ 16 h 579"/>
                <a:gd name="T14" fmla="*/ 232 w 923"/>
                <a:gd name="T15" fmla="*/ 136 h 579"/>
                <a:gd name="T16" fmla="*/ 355 w 923"/>
                <a:gd name="T17" fmla="*/ 11 h 579"/>
                <a:gd name="T18" fmla="*/ 453 w 923"/>
                <a:gd name="T19" fmla="*/ 109 h 579"/>
                <a:gd name="T20" fmla="*/ 578 w 923"/>
                <a:gd name="T21" fmla="*/ 0 h 579"/>
                <a:gd name="T22" fmla="*/ 708 w 923"/>
                <a:gd name="T23" fmla="*/ 115 h 579"/>
                <a:gd name="T24" fmla="*/ 818 w 923"/>
                <a:gd name="T25" fmla="*/ 3 h 579"/>
                <a:gd name="T26" fmla="*/ 923 w 923"/>
                <a:gd name="T27" fmla="*/ 116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3" h="579">
                  <a:moveTo>
                    <a:pt x="923" y="116"/>
                  </a:moveTo>
                  <a:lnTo>
                    <a:pt x="923" y="366"/>
                  </a:lnTo>
                  <a:lnTo>
                    <a:pt x="473" y="366"/>
                  </a:lnTo>
                  <a:lnTo>
                    <a:pt x="473" y="579"/>
                  </a:lnTo>
                  <a:lnTo>
                    <a:pt x="0" y="579"/>
                  </a:lnTo>
                  <a:lnTo>
                    <a:pt x="0" y="149"/>
                  </a:lnTo>
                  <a:lnTo>
                    <a:pt x="122" y="16"/>
                  </a:lnTo>
                  <a:lnTo>
                    <a:pt x="232" y="136"/>
                  </a:lnTo>
                  <a:lnTo>
                    <a:pt x="355" y="11"/>
                  </a:lnTo>
                  <a:lnTo>
                    <a:pt x="453" y="109"/>
                  </a:lnTo>
                  <a:lnTo>
                    <a:pt x="578" y="0"/>
                  </a:lnTo>
                  <a:lnTo>
                    <a:pt x="708" y="115"/>
                  </a:lnTo>
                  <a:lnTo>
                    <a:pt x="818" y="3"/>
                  </a:lnTo>
                  <a:lnTo>
                    <a:pt x="923" y="116"/>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324" name="Rectangle 367">
              <a:extLst>
                <a:ext uri="{FF2B5EF4-FFF2-40B4-BE49-F238E27FC236}">
                  <a16:creationId xmlns:a16="http://schemas.microsoft.com/office/drawing/2014/main" id="{5AA829D5-1414-43CD-AFF6-4412331264CB}"/>
                </a:ext>
              </a:extLst>
            </p:cNvPr>
            <p:cNvSpPr>
              <a:spLocks noChangeArrowheads="1"/>
            </p:cNvSpPr>
            <p:nvPr/>
          </p:nvSpPr>
          <p:spPr bwMode="auto">
            <a:xfrm>
              <a:off x="3828" y="862"/>
              <a:ext cx="10" cy="14"/>
            </a:xfrm>
            <a:prstGeom prst="rect">
              <a:avLst/>
            </a:prstGeom>
            <a:solidFill>
              <a:srgbClr val="FFFFFF"/>
            </a:solidFill>
            <a:ln w="3175">
              <a:solidFill>
                <a:srgbClr val="FB0129"/>
              </a:solidFill>
              <a:miter lim="800000"/>
              <a:headEnd/>
              <a:tailEnd/>
            </a:ln>
          </p:spPr>
          <p:txBody>
            <a:bodyPr/>
            <a:lstStyle/>
            <a:p>
              <a:pPr defTabSz="609539"/>
              <a:endParaRPr lang="en-US" sz="2399">
                <a:solidFill>
                  <a:srgbClr val="000000"/>
                </a:solidFill>
              </a:endParaRPr>
            </a:p>
          </p:txBody>
        </p:sp>
        <p:sp>
          <p:nvSpPr>
            <p:cNvPr id="325" name="Rectangle 368">
              <a:extLst>
                <a:ext uri="{FF2B5EF4-FFF2-40B4-BE49-F238E27FC236}">
                  <a16:creationId xmlns:a16="http://schemas.microsoft.com/office/drawing/2014/main" id="{9AD57A74-C4B0-40FB-B1C6-D3BD37775F4C}"/>
                </a:ext>
              </a:extLst>
            </p:cNvPr>
            <p:cNvSpPr>
              <a:spLocks noChangeArrowheads="1"/>
            </p:cNvSpPr>
            <p:nvPr/>
          </p:nvSpPr>
          <p:spPr bwMode="auto">
            <a:xfrm>
              <a:off x="3841" y="862"/>
              <a:ext cx="9" cy="14"/>
            </a:xfrm>
            <a:prstGeom prst="rect">
              <a:avLst/>
            </a:prstGeom>
            <a:solidFill>
              <a:srgbClr val="FFFFFF"/>
            </a:solidFill>
            <a:ln w="3175">
              <a:solidFill>
                <a:srgbClr val="FB0129"/>
              </a:solidFill>
              <a:miter lim="800000"/>
              <a:headEnd/>
              <a:tailEnd/>
            </a:ln>
          </p:spPr>
          <p:txBody>
            <a:bodyPr/>
            <a:lstStyle/>
            <a:p>
              <a:pPr defTabSz="609539"/>
              <a:endParaRPr lang="en-US" sz="2399">
                <a:solidFill>
                  <a:srgbClr val="000000"/>
                </a:solidFill>
              </a:endParaRPr>
            </a:p>
          </p:txBody>
        </p:sp>
        <p:sp>
          <p:nvSpPr>
            <p:cNvPr id="326" name="Rectangle 369">
              <a:extLst>
                <a:ext uri="{FF2B5EF4-FFF2-40B4-BE49-F238E27FC236}">
                  <a16:creationId xmlns:a16="http://schemas.microsoft.com/office/drawing/2014/main" id="{5D71D1E3-2776-442E-AF2B-8AE532AA58DC}"/>
                </a:ext>
              </a:extLst>
            </p:cNvPr>
            <p:cNvSpPr>
              <a:spLocks noChangeArrowheads="1"/>
            </p:cNvSpPr>
            <p:nvPr/>
          </p:nvSpPr>
          <p:spPr bwMode="auto">
            <a:xfrm>
              <a:off x="3853" y="862"/>
              <a:ext cx="8" cy="14"/>
            </a:xfrm>
            <a:prstGeom prst="rect">
              <a:avLst/>
            </a:prstGeom>
            <a:solidFill>
              <a:srgbClr val="FFFFFF"/>
            </a:solidFill>
            <a:ln w="3175">
              <a:solidFill>
                <a:srgbClr val="FB0129"/>
              </a:solidFill>
              <a:miter lim="800000"/>
              <a:headEnd/>
              <a:tailEnd/>
            </a:ln>
          </p:spPr>
          <p:txBody>
            <a:bodyPr/>
            <a:lstStyle/>
            <a:p>
              <a:pPr defTabSz="609539"/>
              <a:endParaRPr lang="en-US" sz="2399">
                <a:solidFill>
                  <a:srgbClr val="000000"/>
                </a:solidFill>
              </a:endParaRPr>
            </a:p>
          </p:txBody>
        </p:sp>
        <p:sp>
          <p:nvSpPr>
            <p:cNvPr id="327" name="Freeform 370">
              <a:extLst>
                <a:ext uri="{FF2B5EF4-FFF2-40B4-BE49-F238E27FC236}">
                  <a16:creationId xmlns:a16="http://schemas.microsoft.com/office/drawing/2014/main" id="{1DEB0CAF-330A-4938-B587-C515EC79B95D}"/>
                </a:ext>
              </a:extLst>
            </p:cNvPr>
            <p:cNvSpPr>
              <a:spLocks/>
            </p:cNvSpPr>
            <p:nvPr/>
          </p:nvSpPr>
          <p:spPr bwMode="auto">
            <a:xfrm>
              <a:off x="3765" y="808"/>
              <a:ext cx="79" cy="68"/>
            </a:xfrm>
            <a:custGeom>
              <a:avLst/>
              <a:gdLst>
                <a:gd name="T0" fmla="*/ 950 w 984"/>
                <a:gd name="T1" fmla="*/ 64 h 848"/>
                <a:gd name="T2" fmla="*/ 950 w 984"/>
                <a:gd name="T3" fmla="*/ 306 h 848"/>
                <a:gd name="T4" fmla="*/ 847 w 984"/>
                <a:gd name="T5" fmla="*/ 213 h 848"/>
                <a:gd name="T6" fmla="*/ 725 w 984"/>
                <a:gd name="T7" fmla="*/ 322 h 848"/>
                <a:gd name="T8" fmla="*/ 624 w 984"/>
                <a:gd name="T9" fmla="*/ 223 h 848"/>
                <a:gd name="T10" fmla="*/ 502 w 984"/>
                <a:gd name="T11" fmla="*/ 345 h 848"/>
                <a:gd name="T12" fmla="*/ 391 w 984"/>
                <a:gd name="T13" fmla="*/ 224 h 848"/>
                <a:gd name="T14" fmla="*/ 228 w 984"/>
                <a:gd name="T15" fmla="*/ 402 h 848"/>
                <a:gd name="T16" fmla="*/ 228 w 984"/>
                <a:gd name="T17" fmla="*/ 848 h 848"/>
                <a:gd name="T18" fmla="*/ 0 w 984"/>
                <a:gd name="T19" fmla="*/ 848 h 848"/>
                <a:gd name="T20" fmla="*/ 0 w 984"/>
                <a:gd name="T21" fmla="*/ 0 h 848"/>
                <a:gd name="T22" fmla="*/ 984 w 984"/>
                <a:gd name="T23" fmla="*/ 0 h 848"/>
                <a:gd name="T24" fmla="*/ 950 w 984"/>
                <a:gd name="T25" fmla="*/ 6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4" h="848">
                  <a:moveTo>
                    <a:pt x="950" y="64"/>
                  </a:moveTo>
                  <a:lnTo>
                    <a:pt x="950" y="306"/>
                  </a:lnTo>
                  <a:lnTo>
                    <a:pt x="847" y="213"/>
                  </a:lnTo>
                  <a:lnTo>
                    <a:pt x="725" y="322"/>
                  </a:lnTo>
                  <a:lnTo>
                    <a:pt x="624" y="223"/>
                  </a:lnTo>
                  <a:lnTo>
                    <a:pt x="502" y="345"/>
                  </a:lnTo>
                  <a:lnTo>
                    <a:pt x="391" y="224"/>
                  </a:lnTo>
                  <a:lnTo>
                    <a:pt x="228" y="402"/>
                  </a:lnTo>
                  <a:lnTo>
                    <a:pt x="228" y="848"/>
                  </a:lnTo>
                  <a:lnTo>
                    <a:pt x="0" y="848"/>
                  </a:lnTo>
                  <a:lnTo>
                    <a:pt x="0" y="0"/>
                  </a:lnTo>
                  <a:lnTo>
                    <a:pt x="984" y="0"/>
                  </a:lnTo>
                  <a:lnTo>
                    <a:pt x="950" y="64"/>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328" name="Freeform 371">
              <a:extLst>
                <a:ext uri="{FF2B5EF4-FFF2-40B4-BE49-F238E27FC236}">
                  <a16:creationId xmlns:a16="http://schemas.microsoft.com/office/drawing/2014/main" id="{6D824A63-410C-4CC8-9DCE-EF2D2E3D1505}"/>
                </a:ext>
              </a:extLst>
            </p:cNvPr>
            <p:cNvSpPr>
              <a:spLocks/>
            </p:cNvSpPr>
            <p:nvPr/>
          </p:nvSpPr>
          <p:spPr bwMode="auto">
            <a:xfrm>
              <a:off x="3733" y="764"/>
              <a:ext cx="13" cy="70"/>
            </a:xfrm>
            <a:custGeom>
              <a:avLst/>
              <a:gdLst>
                <a:gd name="T0" fmla="*/ 37 w 170"/>
                <a:gd name="T1" fmla="*/ 0 h 876"/>
                <a:gd name="T2" fmla="*/ 126 w 170"/>
                <a:gd name="T3" fmla="*/ 0 h 876"/>
                <a:gd name="T4" fmla="*/ 128 w 170"/>
                <a:gd name="T5" fmla="*/ 36 h 876"/>
                <a:gd name="T6" fmla="*/ 81 w 170"/>
                <a:gd name="T7" fmla="*/ 36 h 876"/>
                <a:gd name="T8" fmla="*/ 81 w 170"/>
                <a:gd name="T9" fmla="*/ 78 h 876"/>
                <a:gd name="T10" fmla="*/ 131 w 170"/>
                <a:gd name="T11" fmla="*/ 78 h 876"/>
                <a:gd name="T12" fmla="*/ 170 w 170"/>
                <a:gd name="T13" fmla="*/ 876 h 876"/>
                <a:gd name="T14" fmla="*/ 0 w 170"/>
                <a:gd name="T15" fmla="*/ 876 h 876"/>
                <a:gd name="T16" fmla="*/ 37 w 170"/>
                <a:gd name="T1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876">
                  <a:moveTo>
                    <a:pt x="37" y="0"/>
                  </a:moveTo>
                  <a:lnTo>
                    <a:pt x="126" y="0"/>
                  </a:lnTo>
                  <a:lnTo>
                    <a:pt x="128" y="36"/>
                  </a:lnTo>
                  <a:lnTo>
                    <a:pt x="81" y="36"/>
                  </a:lnTo>
                  <a:lnTo>
                    <a:pt x="81" y="78"/>
                  </a:lnTo>
                  <a:lnTo>
                    <a:pt x="131" y="78"/>
                  </a:lnTo>
                  <a:lnTo>
                    <a:pt x="170" y="876"/>
                  </a:lnTo>
                  <a:lnTo>
                    <a:pt x="0" y="876"/>
                  </a:lnTo>
                  <a:lnTo>
                    <a:pt x="37" y="0"/>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329" name="Freeform 372">
              <a:extLst>
                <a:ext uri="{FF2B5EF4-FFF2-40B4-BE49-F238E27FC236}">
                  <a16:creationId xmlns:a16="http://schemas.microsoft.com/office/drawing/2014/main" id="{82E57FBD-F2AD-4ED1-A6AE-75F5DF9385D5}"/>
                </a:ext>
              </a:extLst>
            </p:cNvPr>
            <p:cNvSpPr>
              <a:spLocks/>
            </p:cNvSpPr>
            <p:nvPr/>
          </p:nvSpPr>
          <p:spPr bwMode="auto">
            <a:xfrm>
              <a:off x="3709" y="764"/>
              <a:ext cx="14" cy="70"/>
            </a:xfrm>
            <a:custGeom>
              <a:avLst/>
              <a:gdLst>
                <a:gd name="T0" fmla="*/ 37 w 171"/>
                <a:gd name="T1" fmla="*/ 0 h 876"/>
                <a:gd name="T2" fmla="*/ 126 w 171"/>
                <a:gd name="T3" fmla="*/ 0 h 876"/>
                <a:gd name="T4" fmla="*/ 128 w 171"/>
                <a:gd name="T5" fmla="*/ 42 h 876"/>
                <a:gd name="T6" fmla="*/ 86 w 171"/>
                <a:gd name="T7" fmla="*/ 42 h 876"/>
                <a:gd name="T8" fmla="*/ 86 w 171"/>
                <a:gd name="T9" fmla="*/ 83 h 876"/>
                <a:gd name="T10" fmla="*/ 130 w 171"/>
                <a:gd name="T11" fmla="*/ 83 h 876"/>
                <a:gd name="T12" fmla="*/ 171 w 171"/>
                <a:gd name="T13" fmla="*/ 876 h 876"/>
                <a:gd name="T14" fmla="*/ 0 w 171"/>
                <a:gd name="T15" fmla="*/ 876 h 876"/>
                <a:gd name="T16" fmla="*/ 37 w 171"/>
                <a:gd name="T1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876">
                  <a:moveTo>
                    <a:pt x="37" y="0"/>
                  </a:moveTo>
                  <a:lnTo>
                    <a:pt x="126" y="0"/>
                  </a:lnTo>
                  <a:lnTo>
                    <a:pt x="128" y="42"/>
                  </a:lnTo>
                  <a:lnTo>
                    <a:pt x="86" y="42"/>
                  </a:lnTo>
                  <a:lnTo>
                    <a:pt x="86" y="83"/>
                  </a:lnTo>
                  <a:lnTo>
                    <a:pt x="130" y="83"/>
                  </a:lnTo>
                  <a:lnTo>
                    <a:pt x="171" y="876"/>
                  </a:lnTo>
                  <a:lnTo>
                    <a:pt x="0" y="876"/>
                  </a:lnTo>
                  <a:lnTo>
                    <a:pt x="37" y="0"/>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330" name="Freeform 373">
              <a:extLst>
                <a:ext uri="{FF2B5EF4-FFF2-40B4-BE49-F238E27FC236}">
                  <a16:creationId xmlns:a16="http://schemas.microsoft.com/office/drawing/2014/main" id="{1B1FD37F-31EA-4C0B-B145-0391F9808F19}"/>
                </a:ext>
              </a:extLst>
            </p:cNvPr>
            <p:cNvSpPr>
              <a:spLocks/>
            </p:cNvSpPr>
            <p:nvPr/>
          </p:nvSpPr>
          <p:spPr bwMode="auto">
            <a:xfrm>
              <a:off x="3695" y="838"/>
              <a:ext cx="67" cy="38"/>
            </a:xfrm>
            <a:custGeom>
              <a:avLst/>
              <a:gdLst>
                <a:gd name="T0" fmla="*/ 0 w 843"/>
                <a:gd name="T1" fmla="*/ 0 h 475"/>
                <a:gd name="T2" fmla="*/ 843 w 843"/>
                <a:gd name="T3" fmla="*/ 0 h 475"/>
                <a:gd name="T4" fmla="*/ 843 w 843"/>
                <a:gd name="T5" fmla="*/ 97 h 475"/>
                <a:gd name="T6" fmla="*/ 752 w 843"/>
                <a:gd name="T7" fmla="*/ 97 h 475"/>
                <a:gd name="T8" fmla="*/ 752 w 843"/>
                <a:gd name="T9" fmla="*/ 139 h 475"/>
                <a:gd name="T10" fmla="*/ 843 w 843"/>
                <a:gd name="T11" fmla="*/ 139 h 475"/>
                <a:gd name="T12" fmla="*/ 843 w 843"/>
                <a:gd name="T13" fmla="*/ 212 h 475"/>
                <a:gd name="T14" fmla="*/ 752 w 843"/>
                <a:gd name="T15" fmla="*/ 212 h 475"/>
                <a:gd name="T16" fmla="*/ 752 w 843"/>
                <a:gd name="T17" fmla="*/ 254 h 475"/>
                <a:gd name="T18" fmla="*/ 843 w 843"/>
                <a:gd name="T19" fmla="*/ 254 h 475"/>
                <a:gd name="T20" fmla="*/ 843 w 843"/>
                <a:gd name="T21" fmla="*/ 329 h 475"/>
                <a:gd name="T22" fmla="*/ 752 w 843"/>
                <a:gd name="T23" fmla="*/ 329 h 475"/>
                <a:gd name="T24" fmla="*/ 752 w 843"/>
                <a:gd name="T25" fmla="*/ 369 h 475"/>
                <a:gd name="T26" fmla="*/ 843 w 843"/>
                <a:gd name="T27" fmla="*/ 369 h 475"/>
                <a:gd name="T28" fmla="*/ 843 w 843"/>
                <a:gd name="T29" fmla="*/ 475 h 475"/>
                <a:gd name="T30" fmla="*/ 39 w 843"/>
                <a:gd name="T31" fmla="*/ 475 h 475"/>
                <a:gd name="T32" fmla="*/ 39 w 843"/>
                <a:gd name="T33" fmla="*/ 73 h 475"/>
                <a:gd name="T34" fmla="*/ 0 w 843"/>
                <a:gd name="T35"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3" h="475">
                  <a:moveTo>
                    <a:pt x="0" y="0"/>
                  </a:moveTo>
                  <a:lnTo>
                    <a:pt x="843" y="0"/>
                  </a:lnTo>
                  <a:lnTo>
                    <a:pt x="843" y="97"/>
                  </a:lnTo>
                  <a:lnTo>
                    <a:pt x="752" y="97"/>
                  </a:lnTo>
                  <a:lnTo>
                    <a:pt x="752" y="139"/>
                  </a:lnTo>
                  <a:lnTo>
                    <a:pt x="843" y="139"/>
                  </a:lnTo>
                  <a:lnTo>
                    <a:pt x="843" y="212"/>
                  </a:lnTo>
                  <a:lnTo>
                    <a:pt x="752" y="212"/>
                  </a:lnTo>
                  <a:lnTo>
                    <a:pt x="752" y="254"/>
                  </a:lnTo>
                  <a:lnTo>
                    <a:pt x="843" y="254"/>
                  </a:lnTo>
                  <a:lnTo>
                    <a:pt x="843" y="329"/>
                  </a:lnTo>
                  <a:lnTo>
                    <a:pt x="752" y="329"/>
                  </a:lnTo>
                  <a:lnTo>
                    <a:pt x="752" y="369"/>
                  </a:lnTo>
                  <a:lnTo>
                    <a:pt x="843" y="369"/>
                  </a:lnTo>
                  <a:lnTo>
                    <a:pt x="843" y="475"/>
                  </a:lnTo>
                  <a:lnTo>
                    <a:pt x="39" y="475"/>
                  </a:lnTo>
                  <a:lnTo>
                    <a:pt x="39" y="73"/>
                  </a:lnTo>
                  <a:lnTo>
                    <a:pt x="0" y="0"/>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331" name="Rectangle 374">
              <a:extLst>
                <a:ext uri="{FF2B5EF4-FFF2-40B4-BE49-F238E27FC236}">
                  <a16:creationId xmlns:a16="http://schemas.microsoft.com/office/drawing/2014/main" id="{63890CB0-C269-434B-BE30-FC657659FAFF}"/>
                </a:ext>
              </a:extLst>
            </p:cNvPr>
            <p:cNvSpPr>
              <a:spLocks noChangeArrowheads="1"/>
            </p:cNvSpPr>
            <p:nvPr/>
          </p:nvSpPr>
          <p:spPr bwMode="auto">
            <a:xfrm>
              <a:off x="3772"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32" name="Rectangle 375">
              <a:extLst>
                <a:ext uri="{FF2B5EF4-FFF2-40B4-BE49-F238E27FC236}">
                  <a16:creationId xmlns:a16="http://schemas.microsoft.com/office/drawing/2014/main" id="{9B6D4F99-5C5D-4464-AF42-1F4A56B12638}"/>
                </a:ext>
              </a:extLst>
            </p:cNvPr>
            <p:cNvSpPr>
              <a:spLocks noChangeArrowheads="1"/>
            </p:cNvSpPr>
            <p:nvPr/>
          </p:nvSpPr>
          <p:spPr bwMode="auto">
            <a:xfrm>
              <a:off x="3785"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33" name="Rectangle 376">
              <a:extLst>
                <a:ext uri="{FF2B5EF4-FFF2-40B4-BE49-F238E27FC236}">
                  <a16:creationId xmlns:a16="http://schemas.microsoft.com/office/drawing/2014/main" id="{12C5AD43-C767-4483-B6F7-59E89AD3A27C}"/>
                </a:ext>
              </a:extLst>
            </p:cNvPr>
            <p:cNvSpPr>
              <a:spLocks noChangeArrowheads="1"/>
            </p:cNvSpPr>
            <p:nvPr/>
          </p:nvSpPr>
          <p:spPr bwMode="auto">
            <a:xfrm>
              <a:off x="3798"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34" name="Rectangle 377">
              <a:extLst>
                <a:ext uri="{FF2B5EF4-FFF2-40B4-BE49-F238E27FC236}">
                  <a16:creationId xmlns:a16="http://schemas.microsoft.com/office/drawing/2014/main" id="{4D5CC1D8-67A8-4A70-93E6-FB6F3BCEAB0C}"/>
                </a:ext>
              </a:extLst>
            </p:cNvPr>
            <p:cNvSpPr>
              <a:spLocks noChangeArrowheads="1"/>
            </p:cNvSpPr>
            <p:nvPr/>
          </p:nvSpPr>
          <p:spPr bwMode="auto">
            <a:xfrm>
              <a:off x="3811" y="813"/>
              <a:ext cx="7"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35" name="Rectangle 378">
              <a:extLst>
                <a:ext uri="{FF2B5EF4-FFF2-40B4-BE49-F238E27FC236}">
                  <a16:creationId xmlns:a16="http://schemas.microsoft.com/office/drawing/2014/main" id="{2F6459E4-CB15-46C5-89EA-B3120CA5DE6C}"/>
                </a:ext>
              </a:extLst>
            </p:cNvPr>
            <p:cNvSpPr>
              <a:spLocks noChangeArrowheads="1"/>
            </p:cNvSpPr>
            <p:nvPr/>
          </p:nvSpPr>
          <p:spPr bwMode="auto">
            <a:xfrm>
              <a:off x="3823"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36" name="Rectangle 379">
              <a:extLst>
                <a:ext uri="{FF2B5EF4-FFF2-40B4-BE49-F238E27FC236}">
                  <a16:creationId xmlns:a16="http://schemas.microsoft.com/office/drawing/2014/main" id="{EA049DB1-B361-4387-A556-2E593E601F9A}"/>
                </a:ext>
              </a:extLst>
            </p:cNvPr>
            <p:cNvSpPr>
              <a:spLocks noChangeArrowheads="1"/>
            </p:cNvSpPr>
            <p:nvPr/>
          </p:nvSpPr>
          <p:spPr bwMode="auto">
            <a:xfrm>
              <a:off x="3703"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37" name="Rectangle 380">
              <a:extLst>
                <a:ext uri="{FF2B5EF4-FFF2-40B4-BE49-F238E27FC236}">
                  <a16:creationId xmlns:a16="http://schemas.microsoft.com/office/drawing/2014/main" id="{60B269B5-D177-45DB-9FB7-8B765367291B}"/>
                </a:ext>
              </a:extLst>
            </p:cNvPr>
            <p:cNvSpPr>
              <a:spLocks noChangeArrowheads="1"/>
            </p:cNvSpPr>
            <p:nvPr/>
          </p:nvSpPr>
          <p:spPr bwMode="auto">
            <a:xfrm>
              <a:off x="3716"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38" name="Rectangle 381">
              <a:extLst>
                <a:ext uri="{FF2B5EF4-FFF2-40B4-BE49-F238E27FC236}">
                  <a16:creationId xmlns:a16="http://schemas.microsoft.com/office/drawing/2014/main" id="{45B98E58-59C6-4C89-9D9C-FFF619156689}"/>
                </a:ext>
              </a:extLst>
            </p:cNvPr>
            <p:cNvSpPr>
              <a:spLocks noChangeArrowheads="1"/>
            </p:cNvSpPr>
            <p:nvPr/>
          </p:nvSpPr>
          <p:spPr bwMode="auto">
            <a:xfrm>
              <a:off x="3729"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39" name="Rectangle 382">
              <a:extLst>
                <a:ext uri="{FF2B5EF4-FFF2-40B4-BE49-F238E27FC236}">
                  <a16:creationId xmlns:a16="http://schemas.microsoft.com/office/drawing/2014/main" id="{21612D3A-DBEB-406B-9617-09CF7E8C2A7C}"/>
                </a:ext>
              </a:extLst>
            </p:cNvPr>
            <p:cNvSpPr>
              <a:spLocks noChangeArrowheads="1"/>
            </p:cNvSpPr>
            <p:nvPr/>
          </p:nvSpPr>
          <p:spPr bwMode="auto">
            <a:xfrm>
              <a:off x="3742"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40" name="Rectangle 383">
              <a:extLst>
                <a:ext uri="{FF2B5EF4-FFF2-40B4-BE49-F238E27FC236}">
                  <a16:creationId xmlns:a16="http://schemas.microsoft.com/office/drawing/2014/main" id="{3E6E9E06-B6E3-4EB8-8758-918229D0695F}"/>
                </a:ext>
              </a:extLst>
            </p:cNvPr>
            <p:cNvSpPr>
              <a:spLocks noChangeArrowheads="1"/>
            </p:cNvSpPr>
            <p:nvPr/>
          </p:nvSpPr>
          <p:spPr bwMode="auto">
            <a:xfrm>
              <a:off x="3703"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41" name="Rectangle 384">
              <a:extLst>
                <a:ext uri="{FF2B5EF4-FFF2-40B4-BE49-F238E27FC236}">
                  <a16:creationId xmlns:a16="http://schemas.microsoft.com/office/drawing/2014/main" id="{7D7249F3-2D08-4FE8-BE8D-3FB37E013E0A}"/>
                </a:ext>
              </a:extLst>
            </p:cNvPr>
            <p:cNvSpPr>
              <a:spLocks noChangeArrowheads="1"/>
            </p:cNvSpPr>
            <p:nvPr/>
          </p:nvSpPr>
          <p:spPr bwMode="auto">
            <a:xfrm>
              <a:off x="3716"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42" name="Rectangle 385">
              <a:extLst>
                <a:ext uri="{FF2B5EF4-FFF2-40B4-BE49-F238E27FC236}">
                  <a16:creationId xmlns:a16="http://schemas.microsoft.com/office/drawing/2014/main" id="{F0DBB9E8-3FA7-4479-90CD-DFB72018F98A}"/>
                </a:ext>
              </a:extLst>
            </p:cNvPr>
            <p:cNvSpPr>
              <a:spLocks noChangeArrowheads="1"/>
            </p:cNvSpPr>
            <p:nvPr/>
          </p:nvSpPr>
          <p:spPr bwMode="auto">
            <a:xfrm>
              <a:off x="3729"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43" name="Rectangle 386">
              <a:extLst>
                <a:ext uri="{FF2B5EF4-FFF2-40B4-BE49-F238E27FC236}">
                  <a16:creationId xmlns:a16="http://schemas.microsoft.com/office/drawing/2014/main" id="{685133E7-807C-4B86-9B1E-6E27DC2B7570}"/>
                </a:ext>
              </a:extLst>
            </p:cNvPr>
            <p:cNvSpPr>
              <a:spLocks noChangeArrowheads="1"/>
            </p:cNvSpPr>
            <p:nvPr/>
          </p:nvSpPr>
          <p:spPr bwMode="auto">
            <a:xfrm>
              <a:off x="3742"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44" name="Rectangle 387">
              <a:extLst>
                <a:ext uri="{FF2B5EF4-FFF2-40B4-BE49-F238E27FC236}">
                  <a16:creationId xmlns:a16="http://schemas.microsoft.com/office/drawing/2014/main" id="{0FC8B9B9-0ADC-401B-806E-338EC0531070}"/>
                </a:ext>
              </a:extLst>
            </p:cNvPr>
            <p:cNvSpPr>
              <a:spLocks noChangeArrowheads="1"/>
            </p:cNvSpPr>
            <p:nvPr/>
          </p:nvSpPr>
          <p:spPr bwMode="auto">
            <a:xfrm>
              <a:off x="3703"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45" name="Rectangle 388">
              <a:extLst>
                <a:ext uri="{FF2B5EF4-FFF2-40B4-BE49-F238E27FC236}">
                  <a16:creationId xmlns:a16="http://schemas.microsoft.com/office/drawing/2014/main" id="{5B63343C-40DA-4E55-83D5-F6FDCF35BBC0}"/>
                </a:ext>
              </a:extLst>
            </p:cNvPr>
            <p:cNvSpPr>
              <a:spLocks noChangeArrowheads="1"/>
            </p:cNvSpPr>
            <p:nvPr/>
          </p:nvSpPr>
          <p:spPr bwMode="auto">
            <a:xfrm>
              <a:off x="3716"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46" name="Rectangle 389">
              <a:extLst>
                <a:ext uri="{FF2B5EF4-FFF2-40B4-BE49-F238E27FC236}">
                  <a16:creationId xmlns:a16="http://schemas.microsoft.com/office/drawing/2014/main" id="{1CA45846-8287-4690-B3A1-23084C301143}"/>
                </a:ext>
              </a:extLst>
            </p:cNvPr>
            <p:cNvSpPr>
              <a:spLocks noChangeArrowheads="1"/>
            </p:cNvSpPr>
            <p:nvPr/>
          </p:nvSpPr>
          <p:spPr bwMode="auto">
            <a:xfrm>
              <a:off x="3729"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47" name="Rectangle 390">
              <a:extLst>
                <a:ext uri="{FF2B5EF4-FFF2-40B4-BE49-F238E27FC236}">
                  <a16:creationId xmlns:a16="http://schemas.microsoft.com/office/drawing/2014/main" id="{BEF3D46E-CEBE-45CE-A930-9B2C9E6DE8B5}"/>
                </a:ext>
              </a:extLst>
            </p:cNvPr>
            <p:cNvSpPr>
              <a:spLocks noChangeArrowheads="1"/>
            </p:cNvSpPr>
            <p:nvPr/>
          </p:nvSpPr>
          <p:spPr bwMode="auto">
            <a:xfrm>
              <a:off x="3742"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grpSp>
      <p:sp>
        <p:nvSpPr>
          <p:cNvPr id="348" name="Rectangle 392">
            <a:extLst>
              <a:ext uri="{FF2B5EF4-FFF2-40B4-BE49-F238E27FC236}">
                <a16:creationId xmlns:a16="http://schemas.microsoft.com/office/drawing/2014/main" id="{2DC5692D-9FEA-4102-AA72-7E38818DF0D0}"/>
              </a:ext>
            </a:extLst>
          </p:cNvPr>
          <p:cNvSpPr>
            <a:spLocks noChangeArrowheads="1"/>
          </p:cNvSpPr>
          <p:nvPr>
            <p:custDataLst>
              <p:tags r:id="rId158"/>
            </p:custDataLst>
          </p:nvPr>
        </p:nvSpPr>
        <p:spPr bwMode="auto">
          <a:xfrm>
            <a:off x="10240829" y="2969356"/>
            <a:ext cx="436004"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a:solidFill>
                  <a:srgbClr val="FB0129"/>
                </a:solidFill>
                <a:latin typeface="+mn-lt"/>
              </a:rPr>
              <a:t>Yang Mei</a:t>
            </a:r>
          </a:p>
        </p:txBody>
      </p:sp>
      <p:grpSp>
        <p:nvGrpSpPr>
          <p:cNvPr id="349" name="Group 393">
            <a:extLst>
              <a:ext uri="{FF2B5EF4-FFF2-40B4-BE49-F238E27FC236}">
                <a16:creationId xmlns:a16="http://schemas.microsoft.com/office/drawing/2014/main" id="{A8FDE508-B697-419A-9AD8-BF7FB2EEE3B6}"/>
              </a:ext>
            </a:extLst>
          </p:cNvPr>
          <p:cNvGrpSpPr>
            <a:grpSpLocks/>
          </p:cNvGrpSpPr>
          <p:nvPr/>
        </p:nvGrpSpPr>
        <p:grpSpPr bwMode="auto">
          <a:xfrm>
            <a:off x="10696427" y="2923322"/>
            <a:ext cx="211132" cy="142871"/>
            <a:chOff x="3689" y="761"/>
            <a:chExt cx="175" cy="118"/>
          </a:xfrm>
        </p:grpSpPr>
        <p:sp>
          <p:nvSpPr>
            <p:cNvPr id="350" name="Freeform 394">
              <a:extLst>
                <a:ext uri="{FF2B5EF4-FFF2-40B4-BE49-F238E27FC236}">
                  <a16:creationId xmlns:a16="http://schemas.microsoft.com/office/drawing/2014/main" id="{AF018578-248C-433F-9B36-42CE58F3FB4F}"/>
                </a:ext>
              </a:extLst>
            </p:cNvPr>
            <p:cNvSpPr>
              <a:spLocks/>
            </p:cNvSpPr>
            <p:nvPr/>
          </p:nvSpPr>
          <p:spPr bwMode="auto">
            <a:xfrm>
              <a:off x="3689" y="761"/>
              <a:ext cx="175" cy="118"/>
            </a:xfrm>
            <a:custGeom>
              <a:avLst/>
              <a:gdLst>
                <a:gd name="T0" fmla="*/ 2042 w 2187"/>
                <a:gd name="T1" fmla="*/ 797 h 1474"/>
                <a:gd name="T2" fmla="*/ 1945 w 2187"/>
                <a:gd name="T3" fmla="*/ 894 h 1474"/>
                <a:gd name="T4" fmla="*/ 1945 w 2187"/>
                <a:gd name="T5" fmla="*/ 658 h 1474"/>
                <a:gd name="T6" fmla="*/ 2005 w 2187"/>
                <a:gd name="T7" fmla="*/ 543 h 1474"/>
                <a:gd name="T8" fmla="*/ 912 w 2187"/>
                <a:gd name="T9" fmla="*/ 543 h 1474"/>
                <a:gd name="T10" fmla="*/ 912 w 2187"/>
                <a:gd name="T11" fmla="*/ 916 h 1474"/>
                <a:gd name="T12" fmla="*/ 755 w 2187"/>
                <a:gd name="T13" fmla="*/ 916 h 1474"/>
                <a:gd name="T14" fmla="*/ 708 w 2187"/>
                <a:gd name="T15" fmla="*/ 0 h 1474"/>
                <a:gd name="T16" fmla="*/ 541 w 2187"/>
                <a:gd name="T17" fmla="*/ 0 h 1474"/>
                <a:gd name="T18" fmla="*/ 503 w 2187"/>
                <a:gd name="T19" fmla="*/ 916 h 1474"/>
                <a:gd name="T20" fmla="*/ 466 w 2187"/>
                <a:gd name="T21" fmla="*/ 916 h 1474"/>
                <a:gd name="T22" fmla="*/ 419 w 2187"/>
                <a:gd name="T23" fmla="*/ 0 h 1474"/>
                <a:gd name="T24" fmla="*/ 251 w 2187"/>
                <a:gd name="T25" fmla="*/ 0 h 1474"/>
                <a:gd name="T26" fmla="*/ 213 w 2187"/>
                <a:gd name="T27" fmla="*/ 916 h 1474"/>
                <a:gd name="T28" fmla="*/ 0 w 2187"/>
                <a:gd name="T29" fmla="*/ 916 h 1474"/>
                <a:gd name="T30" fmla="*/ 67 w 2187"/>
                <a:gd name="T31" fmla="*/ 1040 h 1474"/>
                <a:gd name="T32" fmla="*/ 67 w 2187"/>
                <a:gd name="T33" fmla="*/ 1474 h 1474"/>
                <a:gd name="T34" fmla="*/ 2187 w 2187"/>
                <a:gd name="T35" fmla="*/ 1474 h 1474"/>
                <a:gd name="T36" fmla="*/ 2187 w 2187"/>
                <a:gd name="T37" fmla="*/ 953 h 1474"/>
                <a:gd name="T38" fmla="*/ 2042 w 2187"/>
                <a:gd name="T39" fmla="*/ 797 h 1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87" h="1474">
                  <a:moveTo>
                    <a:pt x="2042" y="797"/>
                  </a:moveTo>
                  <a:lnTo>
                    <a:pt x="1945" y="894"/>
                  </a:lnTo>
                  <a:lnTo>
                    <a:pt x="1945" y="658"/>
                  </a:lnTo>
                  <a:lnTo>
                    <a:pt x="2005" y="543"/>
                  </a:lnTo>
                  <a:lnTo>
                    <a:pt x="912" y="543"/>
                  </a:lnTo>
                  <a:lnTo>
                    <a:pt x="912" y="916"/>
                  </a:lnTo>
                  <a:lnTo>
                    <a:pt x="755" y="916"/>
                  </a:lnTo>
                  <a:lnTo>
                    <a:pt x="708" y="0"/>
                  </a:lnTo>
                  <a:lnTo>
                    <a:pt x="541" y="0"/>
                  </a:lnTo>
                  <a:lnTo>
                    <a:pt x="503" y="916"/>
                  </a:lnTo>
                  <a:lnTo>
                    <a:pt x="466" y="916"/>
                  </a:lnTo>
                  <a:lnTo>
                    <a:pt x="419" y="0"/>
                  </a:lnTo>
                  <a:lnTo>
                    <a:pt x="251" y="0"/>
                  </a:lnTo>
                  <a:lnTo>
                    <a:pt x="213" y="916"/>
                  </a:lnTo>
                  <a:lnTo>
                    <a:pt x="0" y="916"/>
                  </a:lnTo>
                  <a:lnTo>
                    <a:pt x="67" y="1040"/>
                  </a:lnTo>
                  <a:lnTo>
                    <a:pt x="67" y="1474"/>
                  </a:lnTo>
                  <a:lnTo>
                    <a:pt x="2187" y="1474"/>
                  </a:lnTo>
                  <a:lnTo>
                    <a:pt x="2187" y="953"/>
                  </a:lnTo>
                  <a:lnTo>
                    <a:pt x="2042" y="797"/>
                  </a:lnTo>
                  <a:close/>
                </a:path>
              </a:pathLst>
            </a:custGeom>
            <a:solidFill>
              <a:srgbClr val="000000"/>
            </a:solidFill>
            <a:ln w="3175" cmpd="sng">
              <a:solidFill>
                <a:srgbClr val="FB0129"/>
              </a:solidFill>
              <a:round/>
              <a:headEnd/>
              <a:tailEnd/>
            </a:ln>
          </p:spPr>
          <p:txBody>
            <a:bodyPr/>
            <a:lstStyle/>
            <a:p>
              <a:pPr defTabSz="609539"/>
              <a:endParaRPr lang="en-US" sz="2399">
                <a:solidFill>
                  <a:srgbClr val="000000"/>
                </a:solidFill>
              </a:endParaRPr>
            </a:p>
          </p:txBody>
        </p:sp>
        <p:sp>
          <p:nvSpPr>
            <p:cNvPr id="351" name="Freeform 395">
              <a:extLst>
                <a:ext uri="{FF2B5EF4-FFF2-40B4-BE49-F238E27FC236}">
                  <a16:creationId xmlns:a16="http://schemas.microsoft.com/office/drawing/2014/main" id="{8A56B081-58C5-40E4-AF2E-0ECBDB01F7F4}"/>
                </a:ext>
              </a:extLst>
            </p:cNvPr>
            <p:cNvSpPr>
              <a:spLocks/>
            </p:cNvSpPr>
            <p:nvPr/>
          </p:nvSpPr>
          <p:spPr bwMode="auto">
            <a:xfrm>
              <a:off x="3787" y="829"/>
              <a:ext cx="74" cy="47"/>
            </a:xfrm>
            <a:custGeom>
              <a:avLst/>
              <a:gdLst>
                <a:gd name="T0" fmla="*/ 923 w 923"/>
                <a:gd name="T1" fmla="*/ 116 h 579"/>
                <a:gd name="T2" fmla="*/ 923 w 923"/>
                <a:gd name="T3" fmla="*/ 366 h 579"/>
                <a:gd name="T4" fmla="*/ 473 w 923"/>
                <a:gd name="T5" fmla="*/ 366 h 579"/>
                <a:gd name="T6" fmla="*/ 473 w 923"/>
                <a:gd name="T7" fmla="*/ 579 h 579"/>
                <a:gd name="T8" fmla="*/ 0 w 923"/>
                <a:gd name="T9" fmla="*/ 579 h 579"/>
                <a:gd name="T10" fmla="*/ 0 w 923"/>
                <a:gd name="T11" fmla="*/ 149 h 579"/>
                <a:gd name="T12" fmla="*/ 122 w 923"/>
                <a:gd name="T13" fmla="*/ 16 h 579"/>
                <a:gd name="T14" fmla="*/ 232 w 923"/>
                <a:gd name="T15" fmla="*/ 136 h 579"/>
                <a:gd name="T16" fmla="*/ 355 w 923"/>
                <a:gd name="T17" fmla="*/ 11 h 579"/>
                <a:gd name="T18" fmla="*/ 453 w 923"/>
                <a:gd name="T19" fmla="*/ 109 h 579"/>
                <a:gd name="T20" fmla="*/ 578 w 923"/>
                <a:gd name="T21" fmla="*/ 0 h 579"/>
                <a:gd name="T22" fmla="*/ 708 w 923"/>
                <a:gd name="T23" fmla="*/ 115 h 579"/>
                <a:gd name="T24" fmla="*/ 818 w 923"/>
                <a:gd name="T25" fmla="*/ 3 h 579"/>
                <a:gd name="T26" fmla="*/ 923 w 923"/>
                <a:gd name="T27" fmla="*/ 116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3" h="579">
                  <a:moveTo>
                    <a:pt x="923" y="116"/>
                  </a:moveTo>
                  <a:lnTo>
                    <a:pt x="923" y="366"/>
                  </a:lnTo>
                  <a:lnTo>
                    <a:pt x="473" y="366"/>
                  </a:lnTo>
                  <a:lnTo>
                    <a:pt x="473" y="579"/>
                  </a:lnTo>
                  <a:lnTo>
                    <a:pt x="0" y="579"/>
                  </a:lnTo>
                  <a:lnTo>
                    <a:pt x="0" y="149"/>
                  </a:lnTo>
                  <a:lnTo>
                    <a:pt x="122" y="16"/>
                  </a:lnTo>
                  <a:lnTo>
                    <a:pt x="232" y="136"/>
                  </a:lnTo>
                  <a:lnTo>
                    <a:pt x="355" y="11"/>
                  </a:lnTo>
                  <a:lnTo>
                    <a:pt x="453" y="109"/>
                  </a:lnTo>
                  <a:lnTo>
                    <a:pt x="578" y="0"/>
                  </a:lnTo>
                  <a:lnTo>
                    <a:pt x="708" y="115"/>
                  </a:lnTo>
                  <a:lnTo>
                    <a:pt x="818" y="3"/>
                  </a:lnTo>
                  <a:lnTo>
                    <a:pt x="923" y="116"/>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352" name="Rectangle 396">
              <a:extLst>
                <a:ext uri="{FF2B5EF4-FFF2-40B4-BE49-F238E27FC236}">
                  <a16:creationId xmlns:a16="http://schemas.microsoft.com/office/drawing/2014/main" id="{8E365368-D490-41B7-AD2E-B61998A9CAED}"/>
                </a:ext>
              </a:extLst>
            </p:cNvPr>
            <p:cNvSpPr>
              <a:spLocks noChangeArrowheads="1"/>
            </p:cNvSpPr>
            <p:nvPr/>
          </p:nvSpPr>
          <p:spPr bwMode="auto">
            <a:xfrm>
              <a:off x="3828" y="862"/>
              <a:ext cx="10" cy="14"/>
            </a:xfrm>
            <a:prstGeom prst="rect">
              <a:avLst/>
            </a:prstGeom>
            <a:solidFill>
              <a:srgbClr val="FFFFFF"/>
            </a:solidFill>
            <a:ln w="3175">
              <a:solidFill>
                <a:srgbClr val="FB0129"/>
              </a:solidFill>
              <a:miter lim="800000"/>
              <a:headEnd/>
              <a:tailEnd/>
            </a:ln>
          </p:spPr>
          <p:txBody>
            <a:bodyPr/>
            <a:lstStyle/>
            <a:p>
              <a:pPr defTabSz="609539"/>
              <a:endParaRPr lang="en-US" sz="2399">
                <a:solidFill>
                  <a:srgbClr val="000000"/>
                </a:solidFill>
              </a:endParaRPr>
            </a:p>
          </p:txBody>
        </p:sp>
        <p:sp>
          <p:nvSpPr>
            <p:cNvPr id="353" name="Rectangle 397">
              <a:extLst>
                <a:ext uri="{FF2B5EF4-FFF2-40B4-BE49-F238E27FC236}">
                  <a16:creationId xmlns:a16="http://schemas.microsoft.com/office/drawing/2014/main" id="{6690D6D6-4A53-4FED-AADB-AA8B90262AE8}"/>
                </a:ext>
              </a:extLst>
            </p:cNvPr>
            <p:cNvSpPr>
              <a:spLocks noChangeArrowheads="1"/>
            </p:cNvSpPr>
            <p:nvPr/>
          </p:nvSpPr>
          <p:spPr bwMode="auto">
            <a:xfrm>
              <a:off x="3841" y="862"/>
              <a:ext cx="9" cy="14"/>
            </a:xfrm>
            <a:prstGeom prst="rect">
              <a:avLst/>
            </a:prstGeom>
            <a:solidFill>
              <a:srgbClr val="FFFFFF"/>
            </a:solidFill>
            <a:ln w="3175">
              <a:solidFill>
                <a:srgbClr val="FB0129"/>
              </a:solidFill>
              <a:miter lim="800000"/>
              <a:headEnd/>
              <a:tailEnd/>
            </a:ln>
          </p:spPr>
          <p:txBody>
            <a:bodyPr/>
            <a:lstStyle/>
            <a:p>
              <a:pPr defTabSz="609539"/>
              <a:endParaRPr lang="en-US" sz="2399">
                <a:solidFill>
                  <a:srgbClr val="000000"/>
                </a:solidFill>
              </a:endParaRPr>
            </a:p>
          </p:txBody>
        </p:sp>
        <p:sp>
          <p:nvSpPr>
            <p:cNvPr id="354" name="Rectangle 398">
              <a:extLst>
                <a:ext uri="{FF2B5EF4-FFF2-40B4-BE49-F238E27FC236}">
                  <a16:creationId xmlns:a16="http://schemas.microsoft.com/office/drawing/2014/main" id="{61AC9A94-81B9-452C-8C52-4AB9617F280F}"/>
                </a:ext>
              </a:extLst>
            </p:cNvPr>
            <p:cNvSpPr>
              <a:spLocks noChangeArrowheads="1"/>
            </p:cNvSpPr>
            <p:nvPr/>
          </p:nvSpPr>
          <p:spPr bwMode="auto">
            <a:xfrm>
              <a:off x="3853" y="862"/>
              <a:ext cx="8" cy="14"/>
            </a:xfrm>
            <a:prstGeom prst="rect">
              <a:avLst/>
            </a:prstGeom>
            <a:solidFill>
              <a:srgbClr val="FFFFFF"/>
            </a:solidFill>
            <a:ln w="3175">
              <a:solidFill>
                <a:srgbClr val="FB0129"/>
              </a:solidFill>
              <a:miter lim="800000"/>
              <a:headEnd/>
              <a:tailEnd/>
            </a:ln>
          </p:spPr>
          <p:txBody>
            <a:bodyPr/>
            <a:lstStyle/>
            <a:p>
              <a:pPr defTabSz="609539"/>
              <a:endParaRPr lang="en-US" sz="2399">
                <a:solidFill>
                  <a:srgbClr val="000000"/>
                </a:solidFill>
              </a:endParaRPr>
            </a:p>
          </p:txBody>
        </p:sp>
        <p:sp>
          <p:nvSpPr>
            <p:cNvPr id="355" name="Freeform 399">
              <a:extLst>
                <a:ext uri="{FF2B5EF4-FFF2-40B4-BE49-F238E27FC236}">
                  <a16:creationId xmlns:a16="http://schemas.microsoft.com/office/drawing/2014/main" id="{28B4AEEF-7113-458B-9BDD-35AE34A58B21}"/>
                </a:ext>
              </a:extLst>
            </p:cNvPr>
            <p:cNvSpPr>
              <a:spLocks/>
            </p:cNvSpPr>
            <p:nvPr/>
          </p:nvSpPr>
          <p:spPr bwMode="auto">
            <a:xfrm>
              <a:off x="3765" y="808"/>
              <a:ext cx="79" cy="68"/>
            </a:xfrm>
            <a:custGeom>
              <a:avLst/>
              <a:gdLst>
                <a:gd name="T0" fmla="*/ 950 w 984"/>
                <a:gd name="T1" fmla="*/ 64 h 848"/>
                <a:gd name="T2" fmla="*/ 950 w 984"/>
                <a:gd name="T3" fmla="*/ 306 h 848"/>
                <a:gd name="T4" fmla="*/ 847 w 984"/>
                <a:gd name="T5" fmla="*/ 213 h 848"/>
                <a:gd name="T6" fmla="*/ 725 w 984"/>
                <a:gd name="T7" fmla="*/ 322 h 848"/>
                <a:gd name="T8" fmla="*/ 624 w 984"/>
                <a:gd name="T9" fmla="*/ 223 h 848"/>
                <a:gd name="T10" fmla="*/ 502 w 984"/>
                <a:gd name="T11" fmla="*/ 345 h 848"/>
                <a:gd name="T12" fmla="*/ 391 w 984"/>
                <a:gd name="T13" fmla="*/ 224 h 848"/>
                <a:gd name="T14" fmla="*/ 228 w 984"/>
                <a:gd name="T15" fmla="*/ 402 h 848"/>
                <a:gd name="T16" fmla="*/ 228 w 984"/>
                <a:gd name="T17" fmla="*/ 848 h 848"/>
                <a:gd name="T18" fmla="*/ 0 w 984"/>
                <a:gd name="T19" fmla="*/ 848 h 848"/>
                <a:gd name="T20" fmla="*/ 0 w 984"/>
                <a:gd name="T21" fmla="*/ 0 h 848"/>
                <a:gd name="T22" fmla="*/ 984 w 984"/>
                <a:gd name="T23" fmla="*/ 0 h 848"/>
                <a:gd name="T24" fmla="*/ 950 w 984"/>
                <a:gd name="T25" fmla="*/ 6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4" h="848">
                  <a:moveTo>
                    <a:pt x="950" y="64"/>
                  </a:moveTo>
                  <a:lnTo>
                    <a:pt x="950" y="306"/>
                  </a:lnTo>
                  <a:lnTo>
                    <a:pt x="847" y="213"/>
                  </a:lnTo>
                  <a:lnTo>
                    <a:pt x="725" y="322"/>
                  </a:lnTo>
                  <a:lnTo>
                    <a:pt x="624" y="223"/>
                  </a:lnTo>
                  <a:lnTo>
                    <a:pt x="502" y="345"/>
                  </a:lnTo>
                  <a:lnTo>
                    <a:pt x="391" y="224"/>
                  </a:lnTo>
                  <a:lnTo>
                    <a:pt x="228" y="402"/>
                  </a:lnTo>
                  <a:lnTo>
                    <a:pt x="228" y="848"/>
                  </a:lnTo>
                  <a:lnTo>
                    <a:pt x="0" y="848"/>
                  </a:lnTo>
                  <a:lnTo>
                    <a:pt x="0" y="0"/>
                  </a:lnTo>
                  <a:lnTo>
                    <a:pt x="984" y="0"/>
                  </a:lnTo>
                  <a:lnTo>
                    <a:pt x="950" y="64"/>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356" name="Freeform 400">
              <a:extLst>
                <a:ext uri="{FF2B5EF4-FFF2-40B4-BE49-F238E27FC236}">
                  <a16:creationId xmlns:a16="http://schemas.microsoft.com/office/drawing/2014/main" id="{928EF44D-EEE8-4982-8176-269ADE826290}"/>
                </a:ext>
              </a:extLst>
            </p:cNvPr>
            <p:cNvSpPr>
              <a:spLocks/>
            </p:cNvSpPr>
            <p:nvPr/>
          </p:nvSpPr>
          <p:spPr bwMode="auto">
            <a:xfrm>
              <a:off x="3733" y="764"/>
              <a:ext cx="13" cy="70"/>
            </a:xfrm>
            <a:custGeom>
              <a:avLst/>
              <a:gdLst>
                <a:gd name="T0" fmla="*/ 37 w 170"/>
                <a:gd name="T1" fmla="*/ 0 h 876"/>
                <a:gd name="T2" fmla="*/ 126 w 170"/>
                <a:gd name="T3" fmla="*/ 0 h 876"/>
                <a:gd name="T4" fmla="*/ 128 w 170"/>
                <a:gd name="T5" fmla="*/ 36 h 876"/>
                <a:gd name="T6" fmla="*/ 81 w 170"/>
                <a:gd name="T7" fmla="*/ 36 h 876"/>
                <a:gd name="T8" fmla="*/ 81 w 170"/>
                <a:gd name="T9" fmla="*/ 78 h 876"/>
                <a:gd name="T10" fmla="*/ 131 w 170"/>
                <a:gd name="T11" fmla="*/ 78 h 876"/>
                <a:gd name="T12" fmla="*/ 170 w 170"/>
                <a:gd name="T13" fmla="*/ 876 h 876"/>
                <a:gd name="T14" fmla="*/ 0 w 170"/>
                <a:gd name="T15" fmla="*/ 876 h 876"/>
                <a:gd name="T16" fmla="*/ 37 w 170"/>
                <a:gd name="T1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876">
                  <a:moveTo>
                    <a:pt x="37" y="0"/>
                  </a:moveTo>
                  <a:lnTo>
                    <a:pt x="126" y="0"/>
                  </a:lnTo>
                  <a:lnTo>
                    <a:pt x="128" y="36"/>
                  </a:lnTo>
                  <a:lnTo>
                    <a:pt x="81" y="36"/>
                  </a:lnTo>
                  <a:lnTo>
                    <a:pt x="81" y="78"/>
                  </a:lnTo>
                  <a:lnTo>
                    <a:pt x="131" y="78"/>
                  </a:lnTo>
                  <a:lnTo>
                    <a:pt x="170" y="876"/>
                  </a:lnTo>
                  <a:lnTo>
                    <a:pt x="0" y="876"/>
                  </a:lnTo>
                  <a:lnTo>
                    <a:pt x="37" y="0"/>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357" name="Freeform 401">
              <a:extLst>
                <a:ext uri="{FF2B5EF4-FFF2-40B4-BE49-F238E27FC236}">
                  <a16:creationId xmlns:a16="http://schemas.microsoft.com/office/drawing/2014/main" id="{004EC0FA-D6F6-4329-A5F7-E5BF378DFD99}"/>
                </a:ext>
              </a:extLst>
            </p:cNvPr>
            <p:cNvSpPr>
              <a:spLocks/>
            </p:cNvSpPr>
            <p:nvPr/>
          </p:nvSpPr>
          <p:spPr bwMode="auto">
            <a:xfrm>
              <a:off x="3709" y="764"/>
              <a:ext cx="14" cy="70"/>
            </a:xfrm>
            <a:custGeom>
              <a:avLst/>
              <a:gdLst>
                <a:gd name="T0" fmla="*/ 37 w 171"/>
                <a:gd name="T1" fmla="*/ 0 h 876"/>
                <a:gd name="T2" fmla="*/ 126 w 171"/>
                <a:gd name="T3" fmla="*/ 0 h 876"/>
                <a:gd name="T4" fmla="*/ 128 w 171"/>
                <a:gd name="T5" fmla="*/ 42 h 876"/>
                <a:gd name="T6" fmla="*/ 86 w 171"/>
                <a:gd name="T7" fmla="*/ 42 h 876"/>
                <a:gd name="T8" fmla="*/ 86 w 171"/>
                <a:gd name="T9" fmla="*/ 83 h 876"/>
                <a:gd name="T10" fmla="*/ 130 w 171"/>
                <a:gd name="T11" fmla="*/ 83 h 876"/>
                <a:gd name="T12" fmla="*/ 171 w 171"/>
                <a:gd name="T13" fmla="*/ 876 h 876"/>
                <a:gd name="T14" fmla="*/ 0 w 171"/>
                <a:gd name="T15" fmla="*/ 876 h 876"/>
                <a:gd name="T16" fmla="*/ 37 w 171"/>
                <a:gd name="T1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876">
                  <a:moveTo>
                    <a:pt x="37" y="0"/>
                  </a:moveTo>
                  <a:lnTo>
                    <a:pt x="126" y="0"/>
                  </a:lnTo>
                  <a:lnTo>
                    <a:pt x="128" y="42"/>
                  </a:lnTo>
                  <a:lnTo>
                    <a:pt x="86" y="42"/>
                  </a:lnTo>
                  <a:lnTo>
                    <a:pt x="86" y="83"/>
                  </a:lnTo>
                  <a:lnTo>
                    <a:pt x="130" y="83"/>
                  </a:lnTo>
                  <a:lnTo>
                    <a:pt x="171" y="876"/>
                  </a:lnTo>
                  <a:lnTo>
                    <a:pt x="0" y="876"/>
                  </a:lnTo>
                  <a:lnTo>
                    <a:pt x="37" y="0"/>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358" name="Freeform 402">
              <a:extLst>
                <a:ext uri="{FF2B5EF4-FFF2-40B4-BE49-F238E27FC236}">
                  <a16:creationId xmlns:a16="http://schemas.microsoft.com/office/drawing/2014/main" id="{3A45FDB7-84A8-4274-B06E-89D57671B073}"/>
                </a:ext>
              </a:extLst>
            </p:cNvPr>
            <p:cNvSpPr>
              <a:spLocks/>
            </p:cNvSpPr>
            <p:nvPr/>
          </p:nvSpPr>
          <p:spPr bwMode="auto">
            <a:xfrm>
              <a:off x="3695" y="838"/>
              <a:ext cx="67" cy="38"/>
            </a:xfrm>
            <a:custGeom>
              <a:avLst/>
              <a:gdLst>
                <a:gd name="T0" fmla="*/ 0 w 843"/>
                <a:gd name="T1" fmla="*/ 0 h 475"/>
                <a:gd name="T2" fmla="*/ 843 w 843"/>
                <a:gd name="T3" fmla="*/ 0 h 475"/>
                <a:gd name="T4" fmla="*/ 843 w 843"/>
                <a:gd name="T5" fmla="*/ 97 h 475"/>
                <a:gd name="T6" fmla="*/ 752 w 843"/>
                <a:gd name="T7" fmla="*/ 97 h 475"/>
                <a:gd name="T8" fmla="*/ 752 w 843"/>
                <a:gd name="T9" fmla="*/ 139 h 475"/>
                <a:gd name="T10" fmla="*/ 843 w 843"/>
                <a:gd name="T11" fmla="*/ 139 h 475"/>
                <a:gd name="T12" fmla="*/ 843 w 843"/>
                <a:gd name="T13" fmla="*/ 212 h 475"/>
                <a:gd name="T14" fmla="*/ 752 w 843"/>
                <a:gd name="T15" fmla="*/ 212 h 475"/>
                <a:gd name="T16" fmla="*/ 752 w 843"/>
                <a:gd name="T17" fmla="*/ 254 h 475"/>
                <a:gd name="T18" fmla="*/ 843 w 843"/>
                <a:gd name="T19" fmla="*/ 254 h 475"/>
                <a:gd name="T20" fmla="*/ 843 w 843"/>
                <a:gd name="T21" fmla="*/ 329 h 475"/>
                <a:gd name="T22" fmla="*/ 752 w 843"/>
                <a:gd name="T23" fmla="*/ 329 h 475"/>
                <a:gd name="T24" fmla="*/ 752 w 843"/>
                <a:gd name="T25" fmla="*/ 369 h 475"/>
                <a:gd name="T26" fmla="*/ 843 w 843"/>
                <a:gd name="T27" fmla="*/ 369 h 475"/>
                <a:gd name="T28" fmla="*/ 843 w 843"/>
                <a:gd name="T29" fmla="*/ 475 h 475"/>
                <a:gd name="T30" fmla="*/ 39 w 843"/>
                <a:gd name="T31" fmla="*/ 475 h 475"/>
                <a:gd name="T32" fmla="*/ 39 w 843"/>
                <a:gd name="T33" fmla="*/ 73 h 475"/>
                <a:gd name="T34" fmla="*/ 0 w 843"/>
                <a:gd name="T35"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3" h="475">
                  <a:moveTo>
                    <a:pt x="0" y="0"/>
                  </a:moveTo>
                  <a:lnTo>
                    <a:pt x="843" y="0"/>
                  </a:lnTo>
                  <a:lnTo>
                    <a:pt x="843" y="97"/>
                  </a:lnTo>
                  <a:lnTo>
                    <a:pt x="752" y="97"/>
                  </a:lnTo>
                  <a:lnTo>
                    <a:pt x="752" y="139"/>
                  </a:lnTo>
                  <a:lnTo>
                    <a:pt x="843" y="139"/>
                  </a:lnTo>
                  <a:lnTo>
                    <a:pt x="843" y="212"/>
                  </a:lnTo>
                  <a:lnTo>
                    <a:pt x="752" y="212"/>
                  </a:lnTo>
                  <a:lnTo>
                    <a:pt x="752" y="254"/>
                  </a:lnTo>
                  <a:lnTo>
                    <a:pt x="843" y="254"/>
                  </a:lnTo>
                  <a:lnTo>
                    <a:pt x="843" y="329"/>
                  </a:lnTo>
                  <a:lnTo>
                    <a:pt x="752" y="329"/>
                  </a:lnTo>
                  <a:lnTo>
                    <a:pt x="752" y="369"/>
                  </a:lnTo>
                  <a:lnTo>
                    <a:pt x="843" y="369"/>
                  </a:lnTo>
                  <a:lnTo>
                    <a:pt x="843" y="475"/>
                  </a:lnTo>
                  <a:lnTo>
                    <a:pt x="39" y="475"/>
                  </a:lnTo>
                  <a:lnTo>
                    <a:pt x="39" y="73"/>
                  </a:lnTo>
                  <a:lnTo>
                    <a:pt x="0" y="0"/>
                  </a:lnTo>
                  <a:close/>
                </a:path>
              </a:pathLst>
            </a:custGeom>
            <a:solidFill>
              <a:srgbClr val="FFFFFF"/>
            </a:solidFill>
            <a:ln w="3175" cmpd="sng">
              <a:solidFill>
                <a:srgbClr val="FB0129"/>
              </a:solidFill>
              <a:round/>
              <a:headEnd/>
              <a:tailEnd/>
            </a:ln>
          </p:spPr>
          <p:txBody>
            <a:bodyPr/>
            <a:lstStyle/>
            <a:p>
              <a:pPr defTabSz="609539"/>
              <a:endParaRPr lang="en-US" sz="2399">
                <a:solidFill>
                  <a:srgbClr val="000000"/>
                </a:solidFill>
              </a:endParaRPr>
            </a:p>
          </p:txBody>
        </p:sp>
        <p:sp>
          <p:nvSpPr>
            <p:cNvPr id="359" name="Rectangle 403">
              <a:extLst>
                <a:ext uri="{FF2B5EF4-FFF2-40B4-BE49-F238E27FC236}">
                  <a16:creationId xmlns:a16="http://schemas.microsoft.com/office/drawing/2014/main" id="{D0C98864-CE7B-4A72-8359-0FD2BE28560B}"/>
                </a:ext>
              </a:extLst>
            </p:cNvPr>
            <p:cNvSpPr>
              <a:spLocks noChangeArrowheads="1"/>
            </p:cNvSpPr>
            <p:nvPr/>
          </p:nvSpPr>
          <p:spPr bwMode="auto">
            <a:xfrm>
              <a:off x="3772"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60" name="Rectangle 404">
              <a:extLst>
                <a:ext uri="{FF2B5EF4-FFF2-40B4-BE49-F238E27FC236}">
                  <a16:creationId xmlns:a16="http://schemas.microsoft.com/office/drawing/2014/main" id="{B38AFD9F-9F11-42B3-9EBE-2EB8252BF70D}"/>
                </a:ext>
              </a:extLst>
            </p:cNvPr>
            <p:cNvSpPr>
              <a:spLocks noChangeArrowheads="1"/>
            </p:cNvSpPr>
            <p:nvPr/>
          </p:nvSpPr>
          <p:spPr bwMode="auto">
            <a:xfrm>
              <a:off x="3785"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61" name="Rectangle 405">
              <a:extLst>
                <a:ext uri="{FF2B5EF4-FFF2-40B4-BE49-F238E27FC236}">
                  <a16:creationId xmlns:a16="http://schemas.microsoft.com/office/drawing/2014/main" id="{EE9773D7-1D0E-4A27-8104-2A4438C2096F}"/>
                </a:ext>
              </a:extLst>
            </p:cNvPr>
            <p:cNvSpPr>
              <a:spLocks noChangeArrowheads="1"/>
            </p:cNvSpPr>
            <p:nvPr/>
          </p:nvSpPr>
          <p:spPr bwMode="auto">
            <a:xfrm>
              <a:off x="3798"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62" name="Rectangle 406">
              <a:extLst>
                <a:ext uri="{FF2B5EF4-FFF2-40B4-BE49-F238E27FC236}">
                  <a16:creationId xmlns:a16="http://schemas.microsoft.com/office/drawing/2014/main" id="{F43B8491-52D5-46AC-9DC4-1F1971483F6B}"/>
                </a:ext>
              </a:extLst>
            </p:cNvPr>
            <p:cNvSpPr>
              <a:spLocks noChangeArrowheads="1"/>
            </p:cNvSpPr>
            <p:nvPr/>
          </p:nvSpPr>
          <p:spPr bwMode="auto">
            <a:xfrm>
              <a:off x="3811" y="813"/>
              <a:ext cx="7"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63" name="Rectangle 407">
              <a:extLst>
                <a:ext uri="{FF2B5EF4-FFF2-40B4-BE49-F238E27FC236}">
                  <a16:creationId xmlns:a16="http://schemas.microsoft.com/office/drawing/2014/main" id="{E669AB4C-339D-468E-8E4A-8F2730534A8F}"/>
                </a:ext>
              </a:extLst>
            </p:cNvPr>
            <p:cNvSpPr>
              <a:spLocks noChangeArrowheads="1"/>
            </p:cNvSpPr>
            <p:nvPr/>
          </p:nvSpPr>
          <p:spPr bwMode="auto">
            <a:xfrm>
              <a:off x="3823" y="813"/>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64" name="Rectangle 408">
              <a:extLst>
                <a:ext uri="{FF2B5EF4-FFF2-40B4-BE49-F238E27FC236}">
                  <a16:creationId xmlns:a16="http://schemas.microsoft.com/office/drawing/2014/main" id="{30D0D215-3FE4-4A57-8139-7F8F8F179C7E}"/>
                </a:ext>
              </a:extLst>
            </p:cNvPr>
            <p:cNvSpPr>
              <a:spLocks noChangeArrowheads="1"/>
            </p:cNvSpPr>
            <p:nvPr/>
          </p:nvSpPr>
          <p:spPr bwMode="auto">
            <a:xfrm>
              <a:off x="3703"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65" name="Rectangle 409">
              <a:extLst>
                <a:ext uri="{FF2B5EF4-FFF2-40B4-BE49-F238E27FC236}">
                  <a16:creationId xmlns:a16="http://schemas.microsoft.com/office/drawing/2014/main" id="{5E1652CF-8479-4C8A-ACB5-966B95523DF8}"/>
                </a:ext>
              </a:extLst>
            </p:cNvPr>
            <p:cNvSpPr>
              <a:spLocks noChangeArrowheads="1"/>
            </p:cNvSpPr>
            <p:nvPr/>
          </p:nvSpPr>
          <p:spPr bwMode="auto">
            <a:xfrm>
              <a:off x="3716"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66" name="Rectangle 410">
              <a:extLst>
                <a:ext uri="{FF2B5EF4-FFF2-40B4-BE49-F238E27FC236}">
                  <a16:creationId xmlns:a16="http://schemas.microsoft.com/office/drawing/2014/main" id="{9EF57929-D127-4DC8-B882-5D10702039B8}"/>
                </a:ext>
              </a:extLst>
            </p:cNvPr>
            <p:cNvSpPr>
              <a:spLocks noChangeArrowheads="1"/>
            </p:cNvSpPr>
            <p:nvPr/>
          </p:nvSpPr>
          <p:spPr bwMode="auto">
            <a:xfrm>
              <a:off x="3729"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67" name="Rectangle 411">
              <a:extLst>
                <a:ext uri="{FF2B5EF4-FFF2-40B4-BE49-F238E27FC236}">
                  <a16:creationId xmlns:a16="http://schemas.microsoft.com/office/drawing/2014/main" id="{0A1F4639-4CF8-4870-B42C-DB01306B3F13}"/>
                </a:ext>
              </a:extLst>
            </p:cNvPr>
            <p:cNvSpPr>
              <a:spLocks noChangeArrowheads="1"/>
            </p:cNvSpPr>
            <p:nvPr/>
          </p:nvSpPr>
          <p:spPr bwMode="auto">
            <a:xfrm>
              <a:off x="3742" y="845"/>
              <a:ext cx="8" cy="4"/>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68" name="Rectangle 412">
              <a:extLst>
                <a:ext uri="{FF2B5EF4-FFF2-40B4-BE49-F238E27FC236}">
                  <a16:creationId xmlns:a16="http://schemas.microsoft.com/office/drawing/2014/main" id="{CDC74284-F1C4-4597-A0FB-E297F3EE7965}"/>
                </a:ext>
              </a:extLst>
            </p:cNvPr>
            <p:cNvSpPr>
              <a:spLocks noChangeArrowheads="1"/>
            </p:cNvSpPr>
            <p:nvPr/>
          </p:nvSpPr>
          <p:spPr bwMode="auto">
            <a:xfrm>
              <a:off x="3703"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69" name="Rectangle 413">
              <a:extLst>
                <a:ext uri="{FF2B5EF4-FFF2-40B4-BE49-F238E27FC236}">
                  <a16:creationId xmlns:a16="http://schemas.microsoft.com/office/drawing/2014/main" id="{0E3B8E34-D7C9-41CA-A412-351CAC52924E}"/>
                </a:ext>
              </a:extLst>
            </p:cNvPr>
            <p:cNvSpPr>
              <a:spLocks noChangeArrowheads="1"/>
            </p:cNvSpPr>
            <p:nvPr/>
          </p:nvSpPr>
          <p:spPr bwMode="auto">
            <a:xfrm>
              <a:off x="3716"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70" name="Rectangle 414">
              <a:extLst>
                <a:ext uri="{FF2B5EF4-FFF2-40B4-BE49-F238E27FC236}">
                  <a16:creationId xmlns:a16="http://schemas.microsoft.com/office/drawing/2014/main" id="{D6D6B7BB-CA7B-4FC8-A1AC-189C8C08C0D6}"/>
                </a:ext>
              </a:extLst>
            </p:cNvPr>
            <p:cNvSpPr>
              <a:spLocks noChangeArrowheads="1"/>
            </p:cNvSpPr>
            <p:nvPr/>
          </p:nvSpPr>
          <p:spPr bwMode="auto">
            <a:xfrm>
              <a:off x="3729"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71" name="Rectangle 415">
              <a:extLst>
                <a:ext uri="{FF2B5EF4-FFF2-40B4-BE49-F238E27FC236}">
                  <a16:creationId xmlns:a16="http://schemas.microsoft.com/office/drawing/2014/main" id="{BA9EB41E-544B-44E5-A148-5EB70DE08F27}"/>
                </a:ext>
              </a:extLst>
            </p:cNvPr>
            <p:cNvSpPr>
              <a:spLocks noChangeArrowheads="1"/>
            </p:cNvSpPr>
            <p:nvPr/>
          </p:nvSpPr>
          <p:spPr bwMode="auto">
            <a:xfrm>
              <a:off x="3742" y="855"/>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72" name="Rectangle 416">
              <a:extLst>
                <a:ext uri="{FF2B5EF4-FFF2-40B4-BE49-F238E27FC236}">
                  <a16:creationId xmlns:a16="http://schemas.microsoft.com/office/drawing/2014/main" id="{A9541628-9BBF-4DB1-9A7B-C5F283DEEB52}"/>
                </a:ext>
              </a:extLst>
            </p:cNvPr>
            <p:cNvSpPr>
              <a:spLocks noChangeArrowheads="1"/>
            </p:cNvSpPr>
            <p:nvPr/>
          </p:nvSpPr>
          <p:spPr bwMode="auto">
            <a:xfrm>
              <a:off x="3703"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73" name="Rectangle 417">
              <a:extLst>
                <a:ext uri="{FF2B5EF4-FFF2-40B4-BE49-F238E27FC236}">
                  <a16:creationId xmlns:a16="http://schemas.microsoft.com/office/drawing/2014/main" id="{F1CAE9C3-EEA7-4059-9F87-7B37F58655A2}"/>
                </a:ext>
              </a:extLst>
            </p:cNvPr>
            <p:cNvSpPr>
              <a:spLocks noChangeArrowheads="1"/>
            </p:cNvSpPr>
            <p:nvPr/>
          </p:nvSpPr>
          <p:spPr bwMode="auto">
            <a:xfrm>
              <a:off x="3716"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74" name="Rectangle 418">
              <a:extLst>
                <a:ext uri="{FF2B5EF4-FFF2-40B4-BE49-F238E27FC236}">
                  <a16:creationId xmlns:a16="http://schemas.microsoft.com/office/drawing/2014/main" id="{0155023B-85D7-4BC7-B872-F342993FEBB8}"/>
                </a:ext>
              </a:extLst>
            </p:cNvPr>
            <p:cNvSpPr>
              <a:spLocks noChangeArrowheads="1"/>
            </p:cNvSpPr>
            <p:nvPr/>
          </p:nvSpPr>
          <p:spPr bwMode="auto">
            <a:xfrm>
              <a:off x="3729"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sp>
          <p:nvSpPr>
            <p:cNvPr id="375" name="Rectangle 419">
              <a:extLst>
                <a:ext uri="{FF2B5EF4-FFF2-40B4-BE49-F238E27FC236}">
                  <a16:creationId xmlns:a16="http://schemas.microsoft.com/office/drawing/2014/main" id="{B8017EB7-E0CD-4638-B30D-32B4E5E5C03F}"/>
                </a:ext>
              </a:extLst>
            </p:cNvPr>
            <p:cNvSpPr>
              <a:spLocks noChangeArrowheads="1"/>
            </p:cNvSpPr>
            <p:nvPr/>
          </p:nvSpPr>
          <p:spPr bwMode="auto">
            <a:xfrm>
              <a:off x="3742" y="864"/>
              <a:ext cx="8" cy="3"/>
            </a:xfrm>
            <a:prstGeom prst="rect">
              <a:avLst/>
            </a:prstGeom>
            <a:solidFill>
              <a:srgbClr val="000000"/>
            </a:solidFill>
            <a:ln w="3175">
              <a:solidFill>
                <a:srgbClr val="FB0129"/>
              </a:solidFill>
              <a:miter lim="800000"/>
              <a:headEnd/>
              <a:tailEnd/>
            </a:ln>
          </p:spPr>
          <p:txBody>
            <a:bodyPr/>
            <a:lstStyle/>
            <a:p>
              <a:pPr defTabSz="609539"/>
              <a:endParaRPr lang="en-US" sz="2399">
                <a:solidFill>
                  <a:srgbClr val="000000"/>
                </a:solidFill>
              </a:endParaRPr>
            </a:p>
          </p:txBody>
        </p:sp>
      </p:grpSp>
      <p:grpSp>
        <p:nvGrpSpPr>
          <p:cNvPr id="376" name="Group 420">
            <a:extLst>
              <a:ext uri="{FF2B5EF4-FFF2-40B4-BE49-F238E27FC236}">
                <a16:creationId xmlns:a16="http://schemas.microsoft.com/office/drawing/2014/main" id="{419F467D-8330-40F7-833E-582C464254CA}"/>
              </a:ext>
            </a:extLst>
          </p:cNvPr>
          <p:cNvGrpSpPr>
            <a:grpSpLocks/>
          </p:cNvGrpSpPr>
          <p:nvPr>
            <p:custDataLst>
              <p:tags r:id="rId159"/>
            </p:custDataLst>
          </p:nvPr>
        </p:nvGrpSpPr>
        <p:grpSpPr bwMode="auto">
          <a:xfrm rot="120000">
            <a:off x="9839203" y="2185154"/>
            <a:ext cx="60323" cy="57148"/>
            <a:chOff x="3463" y="1611"/>
            <a:chExt cx="38" cy="35"/>
          </a:xfrm>
        </p:grpSpPr>
        <p:sp>
          <p:nvSpPr>
            <p:cNvPr id="377" name="Freeform 421">
              <a:extLst>
                <a:ext uri="{FF2B5EF4-FFF2-40B4-BE49-F238E27FC236}">
                  <a16:creationId xmlns:a16="http://schemas.microsoft.com/office/drawing/2014/main" id="{EEFEFD2B-13B0-41C9-8E05-E7BE506792F3}"/>
                </a:ext>
              </a:extLst>
            </p:cNvPr>
            <p:cNvSpPr>
              <a:spLocks/>
            </p:cNvSpPr>
            <p:nvPr/>
          </p:nvSpPr>
          <p:spPr bwMode="auto">
            <a:xfrm>
              <a:off x="3463" y="1611"/>
              <a:ext cx="38" cy="35"/>
            </a:xfrm>
            <a:custGeom>
              <a:avLst/>
              <a:gdLst>
                <a:gd name="T0" fmla="*/ 38 w 38"/>
                <a:gd name="T1" fmla="*/ 18 h 35"/>
                <a:gd name="T2" fmla="*/ 32 w 38"/>
                <a:gd name="T3" fmla="*/ 5 h 35"/>
                <a:gd name="T4" fmla="*/ 19 w 38"/>
                <a:gd name="T5" fmla="*/ 0 h 35"/>
                <a:gd name="T6" fmla="*/ 6 w 38"/>
                <a:gd name="T7" fmla="*/ 5 h 35"/>
                <a:gd name="T8" fmla="*/ 0 w 38"/>
                <a:gd name="T9" fmla="*/ 18 h 35"/>
                <a:gd name="T10" fmla="*/ 6 w 38"/>
                <a:gd name="T11" fmla="*/ 30 h 35"/>
                <a:gd name="T12" fmla="*/ 19 w 38"/>
                <a:gd name="T13" fmla="*/ 35 h 35"/>
                <a:gd name="T14" fmla="*/ 32 w 38"/>
                <a:gd name="T15" fmla="*/ 30 h 35"/>
                <a:gd name="T16" fmla="*/ 38 w 38"/>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8"/>
                  </a:moveTo>
                  <a:lnTo>
                    <a:pt x="32" y="5"/>
                  </a:lnTo>
                  <a:lnTo>
                    <a:pt x="19" y="0"/>
                  </a:lnTo>
                  <a:lnTo>
                    <a:pt x="6" y="5"/>
                  </a:lnTo>
                  <a:lnTo>
                    <a:pt x="0" y="18"/>
                  </a:lnTo>
                  <a:lnTo>
                    <a:pt x="6" y="30"/>
                  </a:lnTo>
                  <a:lnTo>
                    <a:pt x="19" y="35"/>
                  </a:lnTo>
                  <a:lnTo>
                    <a:pt x="32" y="30"/>
                  </a:lnTo>
                  <a:lnTo>
                    <a:pt x="38" y="18"/>
                  </a:lnTo>
                  <a:close/>
                </a:path>
              </a:pathLst>
            </a:custGeom>
            <a:solidFill>
              <a:srgbClr val="FB0129"/>
            </a:solidFill>
            <a:ln w="9525">
              <a:solidFill>
                <a:srgbClr val="FB0129"/>
              </a:solidFill>
              <a:round/>
              <a:headEnd/>
              <a:tailEnd/>
            </a:ln>
          </p:spPr>
          <p:txBody>
            <a:bodyPr/>
            <a:lstStyle/>
            <a:p>
              <a:pPr defTabSz="609539"/>
              <a:endParaRPr lang="en-US" sz="2399">
                <a:solidFill>
                  <a:srgbClr val="000000"/>
                </a:solidFill>
              </a:endParaRPr>
            </a:p>
          </p:txBody>
        </p:sp>
        <p:sp>
          <p:nvSpPr>
            <p:cNvPr id="378" name="Freeform 422">
              <a:extLst>
                <a:ext uri="{FF2B5EF4-FFF2-40B4-BE49-F238E27FC236}">
                  <a16:creationId xmlns:a16="http://schemas.microsoft.com/office/drawing/2014/main" id="{85C5BC6C-BA2C-433C-8B7B-00C6D7284A4D}"/>
                </a:ext>
              </a:extLst>
            </p:cNvPr>
            <p:cNvSpPr>
              <a:spLocks/>
            </p:cNvSpPr>
            <p:nvPr/>
          </p:nvSpPr>
          <p:spPr bwMode="auto">
            <a:xfrm>
              <a:off x="3463" y="1611"/>
              <a:ext cx="38" cy="35"/>
            </a:xfrm>
            <a:custGeom>
              <a:avLst/>
              <a:gdLst>
                <a:gd name="T0" fmla="*/ 38 w 38"/>
                <a:gd name="T1" fmla="*/ 18 h 35"/>
                <a:gd name="T2" fmla="*/ 32 w 38"/>
                <a:gd name="T3" fmla="*/ 5 h 35"/>
                <a:gd name="T4" fmla="*/ 19 w 38"/>
                <a:gd name="T5" fmla="*/ 0 h 35"/>
                <a:gd name="T6" fmla="*/ 6 w 38"/>
                <a:gd name="T7" fmla="*/ 5 h 35"/>
                <a:gd name="T8" fmla="*/ 0 w 38"/>
                <a:gd name="T9" fmla="*/ 18 h 35"/>
                <a:gd name="T10" fmla="*/ 6 w 38"/>
                <a:gd name="T11" fmla="*/ 30 h 35"/>
                <a:gd name="T12" fmla="*/ 19 w 38"/>
                <a:gd name="T13" fmla="*/ 35 h 35"/>
                <a:gd name="T14" fmla="*/ 32 w 38"/>
                <a:gd name="T15" fmla="*/ 30 h 35"/>
                <a:gd name="T16" fmla="*/ 38 w 38"/>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8"/>
                  </a:moveTo>
                  <a:lnTo>
                    <a:pt x="32" y="5"/>
                  </a:lnTo>
                  <a:lnTo>
                    <a:pt x="19" y="0"/>
                  </a:lnTo>
                  <a:lnTo>
                    <a:pt x="6" y="5"/>
                  </a:lnTo>
                  <a:lnTo>
                    <a:pt x="0" y="18"/>
                  </a:lnTo>
                  <a:lnTo>
                    <a:pt x="6" y="30"/>
                  </a:lnTo>
                  <a:lnTo>
                    <a:pt x="19" y="35"/>
                  </a:lnTo>
                  <a:lnTo>
                    <a:pt x="32" y="30"/>
                  </a:lnTo>
                  <a:lnTo>
                    <a:pt x="38" y="18"/>
                  </a:lnTo>
                  <a:close/>
                </a:path>
              </a:pathLst>
            </a:custGeom>
            <a:solidFill>
              <a:srgbClr val="FB0129"/>
            </a:solidFill>
            <a:ln w="1588" cap="rnd">
              <a:solidFill>
                <a:srgbClr val="FB0129"/>
              </a:solidFill>
              <a:prstDash val="solid"/>
              <a:round/>
              <a:headEnd/>
              <a:tailEnd/>
            </a:ln>
          </p:spPr>
          <p:txBody>
            <a:bodyPr/>
            <a:lstStyle/>
            <a:p>
              <a:pPr defTabSz="609539"/>
              <a:endParaRPr lang="en-US" sz="2399">
                <a:solidFill>
                  <a:srgbClr val="000000"/>
                </a:solidFill>
              </a:endParaRPr>
            </a:p>
          </p:txBody>
        </p:sp>
      </p:grpSp>
      <p:sp>
        <p:nvSpPr>
          <p:cNvPr id="379" name="Freeform 424">
            <a:extLst>
              <a:ext uri="{FF2B5EF4-FFF2-40B4-BE49-F238E27FC236}">
                <a16:creationId xmlns:a16="http://schemas.microsoft.com/office/drawing/2014/main" id="{C4BB3505-4747-4E96-B7B5-9AFAE464D3FC}"/>
              </a:ext>
            </a:extLst>
          </p:cNvPr>
          <p:cNvSpPr>
            <a:spLocks/>
          </p:cNvSpPr>
          <p:nvPr>
            <p:custDataLst>
              <p:tags r:id="rId160"/>
            </p:custDataLst>
          </p:nvPr>
        </p:nvSpPr>
        <p:spPr bwMode="auto">
          <a:xfrm rot="120000">
            <a:off x="9613784" y="3269386"/>
            <a:ext cx="57148" cy="47624"/>
          </a:xfrm>
          <a:custGeom>
            <a:avLst/>
            <a:gdLst>
              <a:gd name="T0" fmla="*/ 0 w 35"/>
              <a:gd name="T1" fmla="*/ 9 h 30"/>
              <a:gd name="T2" fmla="*/ 2 w 35"/>
              <a:gd name="T3" fmla="*/ 8 h 30"/>
              <a:gd name="T4" fmla="*/ 4 w 35"/>
              <a:gd name="T5" fmla="*/ 16 h 30"/>
              <a:gd name="T6" fmla="*/ 10 w 35"/>
              <a:gd name="T7" fmla="*/ 22 h 30"/>
              <a:gd name="T8" fmla="*/ 16 w 35"/>
              <a:gd name="T9" fmla="*/ 27 h 30"/>
              <a:gd name="T10" fmla="*/ 24 w 35"/>
              <a:gd name="T11" fmla="*/ 30 h 30"/>
              <a:gd name="T12" fmla="*/ 27 w 35"/>
              <a:gd name="T13" fmla="*/ 26 h 30"/>
              <a:gd name="T14" fmla="*/ 30 w 35"/>
              <a:gd name="T15" fmla="*/ 11 h 30"/>
              <a:gd name="T16" fmla="*/ 33 w 35"/>
              <a:gd name="T17" fmla="*/ 2 h 30"/>
              <a:gd name="T18" fmla="*/ 35 w 35"/>
              <a:gd name="T19" fmla="*/ 0 h 30"/>
              <a:gd name="T20" fmla="*/ 26 w 35"/>
              <a:gd name="T21" fmla="*/ 0 h 30"/>
              <a:gd name="T22" fmla="*/ 0 w 35"/>
              <a:gd name="T2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30">
                <a:moveTo>
                  <a:pt x="0" y="9"/>
                </a:moveTo>
                <a:lnTo>
                  <a:pt x="2" y="8"/>
                </a:lnTo>
                <a:lnTo>
                  <a:pt x="4" y="16"/>
                </a:lnTo>
                <a:lnTo>
                  <a:pt x="10" y="22"/>
                </a:lnTo>
                <a:lnTo>
                  <a:pt x="16" y="27"/>
                </a:lnTo>
                <a:lnTo>
                  <a:pt x="24" y="30"/>
                </a:lnTo>
                <a:lnTo>
                  <a:pt x="27" y="26"/>
                </a:lnTo>
                <a:lnTo>
                  <a:pt x="30" y="11"/>
                </a:lnTo>
                <a:lnTo>
                  <a:pt x="33" y="2"/>
                </a:lnTo>
                <a:lnTo>
                  <a:pt x="35" y="0"/>
                </a:lnTo>
                <a:lnTo>
                  <a:pt x="26" y="0"/>
                </a:lnTo>
                <a:lnTo>
                  <a:pt x="0" y="9"/>
                </a:lnTo>
              </a:path>
            </a:pathLst>
          </a:custGeom>
          <a:noFill/>
          <a:ln w="9525" cap="rnd">
            <a:solidFill>
              <a:srgbClr val="80808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grpSp>
        <p:nvGrpSpPr>
          <p:cNvPr id="380" name="Group 425">
            <a:extLst>
              <a:ext uri="{FF2B5EF4-FFF2-40B4-BE49-F238E27FC236}">
                <a16:creationId xmlns:a16="http://schemas.microsoft.com/office/drawing/2014/main" id="{B137DABC-3107-482C-9C5F-5D84198CB438}"/>
              </a:ext>
            </a:extLst>
          </p:cNvPr>
          <p:cNvGrpSpPr>
            <a:grpSpLocks/>
          </p:cNvGrpSpPr>
          <p:nvPr>
            <p:custDataLst>
              <p:tags r:id="rId161"/>
            </p:custDataLst>
          </p:nvPr>
        </p:nvGrpSpPr>
        <p:grpSpPr bwMode="auto">
          <a:xfrm rot="120000">
            <a:off x="9616960" y="3274148"/>
            <a:ext cx="60323" cy="55562"/>
            <a:chOff x="3286" y="2205"/>
            <a:chExt cx="38" cy="34"/>
          </a:xfrm>
        </p:grpSpPr>
        <p:sp>
          <p:nvSpPr>
            <p:cNvPr id="381" name="Freeform 426">
              <a:extLst>
                <a:ext uri="{FF2B5EF4-FFF2-40B4-BE49-F238E27FC236}">
                  <a16:creationId xmlns:a16="http://schemas.microsoft.com/office/drawing/2014/main" id="{4DD78136-7DD7-4ADA-8833-D95967E29EF5}"/>
                </a:ext>
              </a:extLst>
            </p:cNvPr>
            <p:cNvSpPr>
              <a:spLocks/>
            </p:cNvSpPr>
            <p:nvPr/>
          </p:nvSpPr>
          <p:spPr bwMode="auto">
            <a:xfrm>
              <a:off x="3286" y="2205"/>
              <a:ext cx="38" cy="34"/>
            </a:xfrm>
            <a:custGeom>
              <a:avLst/>
              <a:gdLst>
                <a:gd name="T0" fmla="*/ 38 w 38"/>
                <a:gd name="T1" fmla="*/ 17 h 34"/>
                <a:gd name="T2" fmla="*/ 32 w 38"/>
                <a:gd name="T3" fmla="*/ 5 h 34"/>
                <a:gd name="T4" fmla="*/ 19 w 38"/>
                <a:gd name="T5" fmla="*/ 0 h 34"/>
                <a:gd name="T6" fmla="*/ 6 w 38"/>
                <a:gd name="T7" fmla="*/ 5 h 34"/>
                <a:gd name="T8" fmla="*/ 0 w 38"/>
                <a:gd name="T9" fmla="*/ 17 h 34"/>
                <a:gd name="T10" fmla="*/ 6 w 38"/>
                <a:gd name="T11" fmla="*/ 29 h 34"/>
                <a:gd name="T12" fmla="*/ 19 w 38"/>
                <a:gd name="T13" fmla="*/ 34 h 34"/>
                <a:gd name="T14" fmla="*/ 32 w 38"/>
                <a:gd name="T15" fmla="*/ 29 h 34"/>
                <a:gd name="T16" fmla="*/ 38 w 38"/>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4">
                  <a:moveTo>
                    <a:pt x="38" y="17"/>
                  </a:moveTo>
                  <a:lnTo>
                    <a:pt x="32" y="5"/>
                  </a:lnTo>
                  <a:lnTo>
                    <a:pt x="19" y="0"/>
                  </a:lnTo>
                  <a:lnTo>
                    <a:pt x="6" y="5"/>
                  </a:lnTo>
                  <a:lnTo>
                    <a:pt x="0" y="17"/>
                  </a:lnTo>
                  <a:lnTo>
                    <a:pt x="6" y="29"/>
                  </a:lnTo>
                  <a:lnTo>
                    <a:pt x="19" y="34"/>
                  </a:lnTo>
                  <a:lnTo>
                    <a:pt x="32" y="29"/>
                  </a:lnTo>
                  <a:lnTo>
                    <a:pt x="38" y="17"/>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39"/>
              <a:endParaRPr lang="en-US" sz="2399">
                <a:solidFill>
                  <a:srgbClr val="000000"/>
                </a:solidFill>
              </a:endParaRPr>
            </a:p>
          </p:txBody>
        </p:sp>
        <p:sp>
          <p:nvSpPr>
            <p:cNvPr id="382" name="Freeform 427">
              <a:extLst>
                <a:ext uri="{FF2B5EF4-FFF2-40B4-BE49-F238E27FC236}">
                  <a16:creationId xmlns:a16="http://schemas.microsoft.com/office/drawing/2014/main" id="{FED23620-AA93-41B4-BAAB-4A8EE38877A2}"/>
                </a:ext>
              </a:extLst>
            </p:cNvPr>
            <p:cNvSpPr>
              <a:spLocks/>
            </p:cNvSpPr>
            <p:nvPr/>
          </p:nvSpPr>
          <p:spPr bwMode="auto">
            <a:xfrm>
              <a:off x="3286" y="2205"/>
              <a:ext cx="38" cy="34"/>
            </a:xfrm>
            <a:custGeom>
              <a:avLst/>
              <a:gdLst>
                <a:gd name="T0" fmla="*/ 38 w 38"/>
                <a:gd name="T1" fmla="*/ 17 h 34"/>
                <a:gd name="T2" fmla="*/ 32 w 38"/>
                <a:gd name="T3" fmla="*/ 5 h 34"/>
                <a:gd name="T4" fmla="*/ 19 w 38"/>
                <a:gd name="T5" fmla="*/ 0 h 34"/>
                <a:gd name="T6" fmla="*/ 6 w 38"/>
                <a:gd name="T7" fmla="*/ 5 h 34"/>
                <a:gd name="T8" fmla="*/ 0 w 38"/>
                <a:gd name="T9" fmla="*/ 17 h 34"/>
                <a:gd name="T10" fmla="*/ 6 w 38"/>
                <a:gd name="T11" fmla="*/ 29 h 34"/>
                <a:gd name="T12" fmla="*/ 19 w 38"/>
                <a:gd name="T13" fmla="*/ 34 h 34"/>
                <a:gd name="T14" fmla="*/ 32 w 38"/>
                <a:gd name="T15" fmla="*/ 29 h 34"/>
                <a:gd name="T16" fmla="*/ 38 w 38"/>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4">
                  <a:moveTo>
                    <a:pt x="38" y="17"/>
                  </a:moveTo>
                  <a:lnTo>
                    <a:pt x="32" y="5"/>
                  </a:lnTo>
                  <a:lnTo>
                    <a:pt x="19" y="0"/>
                  </a:lnTo>
                  <a:lnTo>
                    <a:pt x="6" y="5"/>
                  </a:lnTo>
                  <a:lnTo>
                    <a:pt x="0" y="17"/>
                  </a:lnTo>
                  <a:lnTo>
                    <a:pt x="6" y="29"/>
                  </a:lnTo>
                  <a:lnTo>
                    <a:pt x="19" y="34"/>
                  </a:lnTo>
                  <a:lnTo>
                    <a:pt x="32" y="29"/>
                  </a:lnTo>
                  <a:lnTo>
                    <a:pt x="38" y="17"/>
                  </a:lnTo>
                  <a:close/>
                </a:path>
              </a:pathLst>
            </a:custGeom>
            <a:noFill/>
            <a:ln w="1588" cap="rnd">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grpSp>
      <p:sp>
        <p:nvSpPr>
          <p:cNvPr id="383" name="Rectangle 431">
            <a:extLst>
              <a:ext uri="{FF2B5EF4-FFF2-40B4-BE49-F238E27FC236}">
                <a16:creationId xmlns:a16="http://schemas.microsoft.com/office/drawing/2014/main" id="{47E44730-1562-43B9-B776-D99E4ABF3A46}"/>
              </a:ext>
            </a:extLst>
          </p:cNvPr>
          <p:cNvSpPr>
            <a:spLocks noChangeArrowheads="1"/>
          </p:cNvSpPr>
          <p:nvPr>
            <p:custDataLst>
              <p:tags r:id="rId162"/>
            </p:custDataLst>
          </p:nvPr>
        </p:nvSpPr>
        <p:spPr bwMode="auto">
          <a:xfrm>
            <a:off x="10131295" y="2485183"/>
            <a:ext cx="471269"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a:solidFill>
                  <a:srgbClr val="000000"/>
                </a:solidFill>
                <a:latin typeface="+mn-lt"/>
              </a:rPr>
              <a:t>Hangzhou</a:t>
            </a:r>
          </a:p>
        </p:txBody>
      </p:sp>
      <p:grpSp>
        <p:nvGrpSpPr>
          <p:cNvPr id="384" name="Group 432">
            <a:extLst>
              <a:ext uri="{FF2B5EF4-FFF2-40B4-BE49-F238E27FC236}">
                <a16:creationId xmlns:a16="http://schemas.microsoft.com/office/drawing/2014/main" id="{2BD800C4-970A-4A48-A727-DB0718CE864A}"/>
              </a:ext>
            </a:extLst>
          </p:cNvPr>
          <p:cNvGrpSpPr>
            <a:grpSpLocks/>
          </p:cNvGrpSpPr>
          <p:nvPr>
            <p:custDataLst>
              <p:tags r:id="rId163"/>
            </p:custDataLst>
          </p:nvPr>
        </p:nvGrpSpPr>
        <p:grpSpPr bwMode="auto">
          <a:xfrm rot="120000">
            <a:off x="10010649" y="2335964"/>
            <a:ext cx="60323" cy="58736"/>
            <a:chOff x="3463" y="1611"/>
            <a:chExt cx="38" cy="35"/>
          </a:xfrm>
        </p:grpSpPr>
        <p:sp>
          <p:nvSpPr>
            <p:cNvPr id="385" name="Freeform 433">
              <a:extLst>
                <a:ext uri="{FF2B5EF4-FFF2-40B4-BE49-F238E27FC236}">
                  <a16:creationId xmlns:a16="http://schemas.microsoft.com/office/drawing/2014/main" id="{37BF9BBE-9723-4FE6-AFF7-AEB11D2848BE}"/>
                </a:ext>
              </a:extLst>
            </p:cNvPr>
            <p:cNvSpPr>
              <a:spLocks/>
            </p:cNvSpPr>
            <p:nvPr/>
          </p:nvSpPr>
          <p:spPr bwMode="auto">
            <a:xfrm>
              <a:off x="3463" y="1611"/>
              <a:ext cx="38" cy="35"/>
            </a:xfrm>
            <a:custGeom>
              <a:avLst/>
              <a:gdLst>
                <a:gd name="T0" fmla="*/ 38 w 38"/>
                <a:gd name="T1" fmla="*/ 18 h 35"/>
                <a:gd name="T2" fmla="*/ 32 w 38"/>
                <a:gd name="T3" fmla="*/ 5 h 35"/>
                <a:gd name="T4" fmla="*/ 19 w 38"/>
                <a:gd name="T5" fmla="*/ 0 h 35"/>
                <a:gd name="T6" fmla="*/ 6 w 38"/>
                <a:gd name="T7" fmla="*/ 5 h 35"/>
                <a:gd name="T8" fmla="*/ 0 w 38"/>
                <a:gd name="T9" fmla="*/ 18 h 35"/>
                <a:gd name="T10" fmla="*/ 6 w 38"/>
                <a:gd name="T11" fmla="*/ 30 h 35"/>
                <a:gd name="T12" fmla="*/ 19 w 38"/>
                <a:gd name="T13" fmla="*/ 35 h 35"/>
                <a:gd name="T14" fmla="*/ 32 w 38"/>
                <a:gd name="T15" fmla="*/ 30 h 35"/>
                <a:gd name="T16" fmla="*/ 38 w 38"/>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8"/>
                  </a:moveTo>
                  <a:lnTo>
                    <a:pt x="32" y="5"/>
                  </a:lnTo>
                  <a:lnTo>
                    <a:pt x="19" y="0"/>
                  </a:lnTo>
                  <a:lnTo>
                    <a:pt x="6" y="5"/>
                  </a:lnTo>
                  <a:lnTo>
                    <a:pt x="0" y="18"/>
                  </a:lnTo>
                  <a:lnTo>
                    <a:pt x="6" y="30"/>
                  </a:lnTo>
                  <a:lnTo>
                    <a:pt x="19" y="35"/>
                  </a:lnTo>
                  <a:lnTo>
                    <a:pt x="32" y="30"/>
                  </a:lnTo>
                  <a:lnTo>
                    <a:pt x="38"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39"/>
              <a:endParaRPr lang="en-US" sz="2399">
                <a:solidFill>
                  <a:srgbClr val="000000"/>
                </a:solidFill>
              </a:endParaRPr>
            </a:p>
          </p:txBody>
        </p:sp>
        <p:sp>
          <p:nvSpPr>
            <p:cNvPr id="386" name="Freeform 434">
              <a:extLst>
                <a:ext uri="{FF2B5EF4-FFF2-40B4-BE49-F238E27FC236}">
                  <a16:creationId xmlns:a16="http://schemas.microsoft.com/office/drawing/2014/main" id="{FE51101C-3BB8-469E-9311-A02A303828FC}"/>
                </a:ext>
              </a:extLst>
            </p:cNvPr>
            <p:cNvSpPr>
              <a:spLocks/>
            </p:cNvSpPr>
            <p:nvPr/>
          </p:nvSpPr>
          <p:spPr bwMode="auto">
            <a:xfrm>
              <a:off x="3463" y="1611"/>
              <a:ext cx="38" cy="35"/>
            </a:xfrm>
            <a:custGeom>
              <a:avLst/>
              <a:gdLst>
                <a:gd name="T0" fmla="*/ 38 w 38"/>
                <a:gd name="T1" fmla="*/ 18 h 35"/>
                <a:gd name="T2" fmla="*/ 32 w 38"/>
                <a:gd name="T3" fmla="*/ 5 h 35"/>
                <a:gd name="T4" fmla="*/ 19 w 38"/>
                <a:gd name="T5" fmla="*/ 0 h 35"/>
                <a:gd name="T6" fmla="*/ 6 w 38"/>
                <a:gd name="T7" fmla="*/ 5 h 35"/>
                <a:gd name="T8" fmla="*/ 0 w 38"/>
                <a:gd name="T9" fmla="*/ 18 h 35"/>
                <a:gd name="T10" fmla="*/ 6 w 38"/>
                <a:gd name="T11" fmla="*/ 30 h 35"/>
                <a:gd name="T12" fmla="*/ 19 w 38"/>
                <a:gd name="T13" fmla="*/ 35 h 35"/>
                <a:gd name="T14" fmla="*/ 32 w 38"/>
                <a:gd name="T15" fmla="*/ 30 h 35"/>
                <a:gd name="T16" fmla="*/ 38 w 38"/>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8"/>
                  </a:moveTo>
                  <a:lnTo>
                    <a:pt x="32" y="5"/>
                  </a:lnTo>
                  <a:lnTo>
                    <a:pt x="19" y="0"/>
                  </a:lnTo>
                  <a:lnTo>
                    <a:pt x="6" y="5"/>
                  </a:lnTo>
                  <a:lnTo>
                    <a:pt x="0" y="18"/>
                  </a:lnTo>
                  <a:lnTo>
                    <a:pt x="6" y="30"/>
                  </a:lnTo>
                  <a:lnTo>
                    <a:pt x="19" y="35"/>
                  </a:lnTo>
                  <a:lnTo>
                    <a:pt x="32" y="30"/>
                  </a:lnTo>
                  <a:lnTo>
                    <a:pt x="38" y="18"/>
                  </a:lnTo>
                  <a:close/>
                </a:path>
              </a:pathLst>
            </a:custGeom>
            <a:noFill/>
            <a:ln w="1588" cap="rnd">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grpSp>
      <p:sp>
        <p:nvSpPr>
          <p:cNvPr id="387" name="Rectangle 435">
            <a:extLst>
              <a:ext uri="{FF2B5EF4-FFF2-40B4-BE49-F238E27FC236}">
                <a16:creationId xmlns:a16="http://schemas.microsoft.com/office/drawing/2014/main" id="{F534DC94-E3C7-4EAC-B4D7-CE77C29C709D}"/>
              </a:ext>
            </a:extLst>
          </p:cNvPr>
          <p:cNvSpPr>
            <a:spLocks noChangeArrowheads="1"/>
          </p:cNvSpPr>
          <p:nvPr>
            <p:custDataLst>
              <p:tags r:id="rId164"/>
            </p:custDataLst>
          </p:nvPr>
        </p:nvSpPr>
        <p:spPr bwMode="auto">
          <a:xfrm>
            <a:off x="9667758" y="1499374"/>
            <a:ext cx="291739"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dirty="0">
                <a:solidFill>
                  <a:srgbClr val="000000"/>
                </a:solidFill>
                <a:latin typeface="+mn-lt"/>
              </a:rPr>
              <a:t>Dalian</a:t>
            </a:r>
          </a:p>
        </p:txBody>
      </p:sp>
      <p:sp>
        <p:nvSpPr>
          <p:cNvPr id="388" name="Rectangle 440">
            <a:extLst>
              <a:ext uri="{FF2B5EF4-FFF2-40B4-BE49-F238E27FC236}">
                <a16:creationId xmlns:a16="http://schemas.microsoft.com/office/drawing/2014/main" id="{25D9FE9A-A079-467D-B6CE-CD121A91ED20}"/>
              </a:ext>
            </a:extLst>
          </p:cNvPr>
          <p:cNvSpPr>
            <a:spLocks noChangeArrowheads="1"/>
          </p:cNvSpPr>
          <p:nvPr>
            <p:custDataLst>
              <p:tags r:id="rId165"/>
            </p:custDataLst>
          </p:nvPr>
        </p:nvSpPr>
        <p:spPr bwMode="auto">
          <a:xfrm>
            <a:off x="10307501" y="1643832"/>
            <a:ext cx="264488" cy="110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a:solidFill>
                  <a:srgbClr val="000000"/>
                </a:solidFill>
                <a:latin typeface="+mn-lt"/>
              </a:rPr>
              <a:t>Seoul</a:t>
            </a:r>
          </a:p>
        </p:txBody>
      </p:sp>
      <p:sp>
        <p:nvSpPr>
          <p:cNvPr id="389" name="Oval 111">
            <a:extLst>
              <a:ext uri="{FF2B5EF4-FFF2-40B4-BE49-F238E27FC236}">
                <a16:creationId xmlns:a16="http://schemas.microsoft.com/office/drawing/2014/main" id="{D2702C39-8E53-47F8-AFB6-3B84F10807D8}"/>
              </a:ext>
            </a:extLst>
          </p:cNvPr>
          <p:cNvSpPr>
            <a:spLocks noChangeArrowheads="1"/>
          </p:cNvSpPr>
          <p:nvPr/>
        </p:nvSpPr>
        <p:spPr bwMode="auto">
          <a:xfrm>
            <a:off x="5785953" y="4949670"/>
            <a:ext cx="259758" cy="649169"/>
          </a:xfrm>
          <a:prstGeom prst="ellipse">
            <a:avLst/>
          </a:prstGeom>
          <a:noFill/>
          <a:ln>
            <a:noFill/>
          </a:ln>
          <a:effectLst/>
          <a:extLst>
            <a:ext uri="{909E8E84-426E-40DD-AFC4-6F175D3DCCD1}">
              <a14:hiddenFill xmlns:a14="http://schemas.microsoft.com/office/drawing/2010/main">
                <a:solidFill>
                  <a:srgbClr val="B3FFFF"/>
                </a:solidFill>
              </a14:hiddenFill>
            </a:ex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defTabSz="609539"/>
            <a:endParaRPr lang="en-US" sz="2399">
              <a:solidFill>
                <a:srgbClr val="000000"/>
              </a:solidFill>
            </a:endParaRPr>
          </a:p>
        </p:txBody>
      </p:sp>
      <p:grpSp>
        <p:nvGrpSpPr>
          <p:cNvPr id="390" name="Group 136">
            <a:extLst>
              <a:ext uri="{FF2B5EF4-FFF2-40B4-BE49-F238E27FC236}">
                <a16:creationId xmlns:a16="http://schemas.microsoft.com/office/drawing/2014/main" id="{23F2A973-7BD6-493D-96C6-5A56C7E6C7EE}"/>
              </a:ext>
            </a:extLst>
          </p:cNvPr>
          <p:cNvGrpSpPr>
            <a:grpSpLocks/>
          </p:cNvGrpSpPr>
          <p:nvPr>
            <p:custDataLst>
              <p:tags r:id="rId166"/>
            </p:custDataLst>
          </p:nvPr>
        </p:nvGrpSpPr>
        <p:grpSpPr bwMode="auto">
          <a:xfrm rot="120000">
            <a:off x="9505223" y="1772511"/>
            <a:ext cx="61910" cy="58737"/>
            <a:chOff x="3159" y="1086"/>
            <a:chExt cx="38" cy="35"/>
          </a:xfrm>
        </p:grpSpPr>
        <p:sp>
          <p:nvSpPr>
            <p:cNvPr id="391" name="Freeform 137">
              <a:extLst>
                <a:ext uri="{FF2B5EF4-FFF2-40B4-BE49-F238E27FC236}">
                  <a16:creationId xmlns:a16="http://schemas.microsoft.com/office/drawing/2014/main" id="{4A5833FA-B591-413D-A8C1-D86EA3DF2FD7}"/>
                </a:ext>
              </a:extLst>
            </p:cNvPr>
            <p:cNvSpPr>
              <a:spLocks/>
            </p:cNvSpPr>
            <p:nvPr/>
          </p:nvSpPr>
          <p:spPr bwMode="auto">
            <a:xfrm>
              <a:off x="3159" y="1086"/>
              <a:ext cx="38" cy="35"/>
            </a:xfrm>
            <a:custGeom>
              <a:avLst/>
              <a:gdLst>
                <a:gd name="T0" fmla="*/ 38 w 38"/>
                <a:gd name="T1" fmla="*/ 18 h 35"/>
                <a:gd name="T2" fmla="*/ 32 w 38"/>
                <a:gd name="T3" fmla="*/ 5 h 35"/>
                <a:gd name="T4" fmla="*/ 19 w 38"/>
                <a:gd name="T5" fmla="*/ 0 h 35"/>
                <a:gd name="T6" fmla="*/ 6 w 38"/>
                <a:gd name="T7" fmla="*/ 5 h 35"/>
                <a:gd name="T8" fmla="*/ 0 w 38"/>
                <a:gd name="T9" fmla="*/ 18 h 35"/>
                <a:gd name="T10" fmla="*/ 6 w 38"/>
                <a:gd name="T11" fmla="*/ 30 h 35"/>
                <a:gd name="T12" fmla="*/ 19 w 38"/>
                <a:gd name="T13" fmla="*/ 35 h 35"/>
                <a:gd name="T14" fmla="*/ 32 w 38"/>
                <a:gd name="T15" fmla="*/ 30 h 35"/>
                <a:gd name="T16" fmla="*/ 38 w 38"/>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8"/>
                  </a:moveTo>
                  <a:lnTo>
                    <a:pt x="32" y="5"/>
                  </a:lnTo>
                  <a:lnTo>
                    <a:pt x="19" y="0"/>
                  </a:lnTo>
                  <a:lnTo>
                    <a:pt x="6" y="5"/>
                  </a:lnTo>
                  <a:lnTo>
                    <a:pt x="0" y="18"/>
                  </a:lnTo>
                  <a:lnTo>
                    <a:pt x="6" y="30"/>
                  </a:lnTo>
                  <a:lnTo>
                    <a:pt x="19" y="35"/>
                  </a:lnTo>
                  <a:lnTo>
                    <a:pt x="32" y="30"/>
                  </a:lnTo>
                  <a:lnTo>
                    <a:pt x="38" y="18"/>
                  </a:lnTo>
                  <a:close/>
                </a:path>
              </a:pathLst>
            </a:custGeom>
            <a:solidFill>
              <a:srgbClr val="000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539"/>
              <a:endParaRPr lang="en-US" sz="2399">
                <a:solidFill>
                  <a:srgbClr val="000000"/>
                </a:solidFill>
              </a:endParaRPr>
            </a:p>
          </p:txBody>
        </p:sp>
        <p:sp>
          <p:nvSpPr>
            <p:cNvPr id="392" name="Freeform 138">
              <a:extLst>
                <a:ext uri="{FF2B5EF4-FFF2-40B4-BE49-F238E27FC236}">
                  <a16:creationId xmlns:a16="http://schemas.microsoft.com/office/drawing/2014/main" id="{ED1EBF83-790E-455C-B572-F8214A919670}"/>
                </a:ext>
              </a:extLst>
            </p:cNvPr>
            <p:cNvSpPr>
              <a:spLocks/>
            </p:cNvSpPr>
            <p:nvPr/>
          </p:nvSpPr>
          <p:spPr bwMode="auto">
            <a:xfrm>
              <a:off x="3159" y="1086"/>
              <a:ext cx="38" cy="35"/>
            </a:xfrm>
            <a:custGeom>
              <a:avLst/>
              <a:gdLst>
                <a:gd name="T0" fmla="*/ 38 w 38"/>
                <a:gd name="T1" fmla="*/ 18 h 35"/>
                <a:gd name="T2" fmla="*/ 32 w 38"/>
                <a:gd name="T3" fmla="*/ 5 h 35"/>
                <a:gd name="T4" fmla="*/ 19 w 38"/>
                <a:gd name="T5" fmla="*/ 0 h 35"/>
                <a:gd name="T6" fmla="*/ 6 w 38"/>
                <a:gd name="T7" fmla="*/ 5 h 35"/>
                <a:gd name="T8" fmla="*/ 0 w 38"/>
                <a:gd name="T9" fmla="*/ 18 h 35"/>
                <a:gd name="T10" fmla="*/ 6 w 38"/>
                <a:gd name="T11" fmla="*/ 30 h 35"/>
                <a:gd name="T12" fmla="*/ 19 w 38"/>
                <a:gd name="T13" fmla="*/ 35 h 35"/>
                <a:gd name="T14" fmla="*/ 32 w 38"/>
                <a:gd name="T15" fmla="*/ 30 h 35"/>
                <a:gd name="T16" fmla="*/ 38 w 38"/>
                <a:gd name="T17" fmla="*/ 18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5">
                  <a:moveTo>
                    <a:pt x="38" y="18"/>
                  </a:moveTo>
                  <a:lnTo>
                    <a:pt x="32" y="5"/>
                  </a:lnTo>
                  <a:lnTo>
                    <a:pt x="19" y="0"/>
                  </a:lnTo>
                  <a:lnTo>
                    <a:pt x="6" y="5"/>
                  </a:lnTo>
                  <a:lnTo>
                    <a:pt x="0" y="18"/>
                  </a:lnTo>
                  <a:lnTo>
                    <a:pt x="6" y="30"/>
                  </a:lnTo>
                  <a:lnTo>
                    <a:pt x="19" y="35"/>
                  </a:lnTo>
                  <a:lnTo>
                    <a:pt x="32" y="30"/>
                  </a:lnTo>
                  <a:lnTo>
                    <a:pt x="38" y="18"/>
                  </a:lnTo>
                  <a:close/>
                </a:path>
              </a:pathLst>
            </a:custGeom>
            <a:noFill/>
            <a:ln w="1588" cap="rnd">
              <a:solidFill>
                <a:srgbClr val="0000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defTabSz="609539"/>
              <a:endParaRPr lang="en-US" sz="2399">
                <a:solidFill>
                  <a:srgbClr val="000000"/>
                </a:solidFill>
              </a:endParaRPr>
            </a:p>
          </p:txBody>
        </p:sp>
      </p:grpSp>
      <p:sp>
        <p:nvSpPr>
          <p:cNvPr id="393" name="Rectangle 197">
            <a:extLst>
              <a:ext uri="{FF2B5EF4-FFF2-40B4-BE49-F238E27FC236}">
                <a16:creationId xmlns:a16="http://schemas.microsoft.com/office/drawing/2014/main" id="{982FC32D-404C-4B57-A5D7-2F417A0D645E}"/>
              </a:ext>
            </a:extLst>
          </p:cNvPr>
          <p:cNvSpPr>
            <a:spLocks noChangeArrowheads="1"/>
          </p:cNvSpPr>
          <p:nvPr>
            <p:custDataLst>
              <p:tags r:id="rId167"/>
            </p:custDataLst>
          </p:nvPr>
        </p:nvSpPr>
        <p:spPr bwMode="auto">
          <a:xfrm>
            <a:off x="9199495" y="1813038"/>
            <a:ext cx="302889" cy="110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33450">
              <a:defRPr>
                <a:solidFill>
                  <a:schemeClr val="tx1"/>
                </a:solidFill>
                <a:latin typeface="Arial" panose="020B0604020202020204" pitchFamily="34" charset="0"/>
                <a:cs typeface="Arial" panose="020B0604020202020204" pitchFamily="34" charset="0"/>
              </a:defRPr>
            </a:lvl1pPr>
            <a:lvl2pPr marL="466725" defTabSz="933450">
              <a:defRPr>
                <a:solidFill>
                  <a:schemeClr val="tx1"/>
                </a:solidFill>
                <a:latin typeface="Arial" panose="020B0604020202020204" pitchFamily="34" charset="0"/>
                <a:cs typeface="Arial" panose="020B0604020202020204" pitchFamily="34" charset="0"/>
              </a:defRPr>
            </a:lvl2pPr>
            <a:lvl3pPr marL="933450" defTabSz="933450">
              <a:defRPr>
                <a:solidFill>
                  <a:schemeClr val="tx1"/>
                </a:solidFill>
                <a:latin typeface="Arial" panose="020B0604020202020204" pitchFamily="34" charset="0"/>
                <a:cs typeface="Arial" panose="020B0604020202020204" pitchFamily="34" charset="0"/>
              </a:defRPr>
            </a:lvl3pPr>
            <a:lvl4pPr marL="1400175" defTabSz="933450">
              <a:defRPr>
                <a:solidFill>
                  <a:schemeClr val="tx1"/>
                </a:solidFill>
                <a:latin typeface="Arial" panose="020B0604020202020204" pitchFamily="34" charset="0"/>
                <a:cs typeface="Arial" panose="020B0604020202020204" pitchFamily="34" charset="0"/>
              </a:defRPr>
            </a:lvl4pPr>
            <a:lvl5pPr marL="1865313" defTabSz="933450">
              <a:defRPr>
                <a:solidFill>
                  <a:schemeClr val="tx1"/>
                </a:solidFill>
                <a:latin typeface="Arial" panose="020B0604020202020204" pitchFamily="34" charset="0"/>
                <a:cs typeface="Arial" panose="020B0604020202020204" pitchFamily="34" charset="0"/>
              </a:defRPr>
            </a:lvl5pPr>
            <a:lvl6pPr marL="23225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6pPr>
            <a:lvl7pPr marL="27797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7pPr>
            <a:lvl8pPr marL="32369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8pPr>
            <a:lvl9pPr marL="3694113" defTabSz="933450" fontAlgn="base">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33170">
              <a:lnSpc>
                <a:spcPct val="90000"/>
              </a:lnSpc>
            </a:pPr>
            <a:r>
              <a:rPr lang="en-HK" altLang="en-US" sz="800" dirty="0">
                <a:solidFill>
                  <a:srgbClr val="000000"/>
                </a:solidFill>
                <a:latin typeface="+mn-lt"/>
              </a:rPr>
              <a:t>Tianjin</a:t>
            </a:r>
          </a:p>
        </p:txBody>
      </p:sp>
      <p:grpSp>
        <p:nvGrpSpPr>
          <p:cNvPr id="394" name="Group 332">
            <a:extLst>
              <a:ext uri="{FF2B5EF4-FFF2-40B4-BE49-F238E27FC236}">
                <a16:creationId xmlns:a16="http://schemas.microsoft.com/office/drawing/2014/main" id="{94506EAB-4756-4B03-A9A5-8CDBCABC884C}"/>
              </a:ext>
            </a:extLst>
          </p:cNvPr>
          <p:cNvGrpSpPr>
            <a:grpSpLocks/>
          </p:cNvGrpSpPr>
          <p:nvPr/>
        </p:nvGrpSpPr>
        <p:grpSpPr bwMode="auto">
          <a:xfrm>
            <a:off x="6250606" y="347747"/>
            <a:ext cx="263517" cy="177795"/>
            <a:chOff x="3689" y="761"/>
            <a:chExt cx="175" cy="118"/>
          </a:xfrm>
        </p:grpSpPr>
        <p:sp>
          <p:nvSpPr>
            <p:cNvPr id="395" name="Freeform 333">
              <a:extLst>
                <a:ext uri="{FF2B5EF4-FFF2-40B4-BE49-F238E27FC236}">
                  <a16:creationId xmlns:a16="http://schemas.microsoft.com/office/drawing/2014/main" id="{0F24B647-FA91-46F8-8E90-9472CAB06F29}"/>
                </a:ext>
              </a:extLst>
            </p:cNvPr>
            <p:cNvSpPr>
              <a:spLocks/>
            </p:cNvSpPr>
            <p:nvPr/>
          </p:nvSpPr>
          <p:spPr bwMode="auto">
            <a:xfrm>
              <a:off x="3689" y="761"/>
              <a:ext cx="175" cy="118"/>
            </a:xfrm>
            <a:custGeom>
              <a:avLst/>
              <a:gdLst>
                <a:gd name="T0" fmla="*/ 2042 w 2187"/>
                <a:gd name="T1" fmla="*/ 797 h 1474"/>
                <a:gd name="T2" fmla="*/ 1945 w 2187"/>
                <a:gd name="T3" fmla="*/ 894 h 1474"/>
                <a:gd name="T4" fmla="*/ 1945 w 2187"/>
                <a:gd name="T5" fmla="*/ 658 h 1474"/>
                <a:gd name="T6" fmla="*/ 2005 w 2187"/>
                <a:gd name="T7" fmla="*/ 543 h 1474"/>
                <a:gd name="T8" fmla="*/ 912 w 2187"/>
                <a:gd name="T9" fmla="*/ 543 h 1474"/>
                <a:gd name="T10" fmla="*/ 912 w 2187"/>
                <a:gd name="T11" fmla="*/ 916 h 1474"/>
                <a:gd name="T12" fmla="*/ 755 w 2187"/>
                <a:gd name="T13" fmla="*/ 916 h 1474"/>
                <a:gd name="T14" fmla="*/ 708 w 2187"/>
                <a:gd name="T15" fmla="*/ 0 h 1474"/>
                <a:gd name="T16" fmla="*/ 541 w 2187"/>
                <a:gd name="T17" fmla="*/ 0 h 1474"/>
                <a:gd name="T18" fmla="*/ 503 w 2187"/>
                <a:gd name="T19" fmla="*/ 916 h 1474"/>
                <a:gd name="T20" fmla="*/ 466 w 2187"/>
                <a:gd name="T21" fmla="*/ 916 h 1474"/>
                <a:gd name="T22" fmla="*/ 419 w 2187"/>
                <a:gd name="T23" fmla="*/ 0 h 1474"/>
                <a:gd name="T24" fmla="*/ 251 w 2187"/>
                <a:gd name="T25" fmla="*/ 0 h 1474"/>
                <a:gd name="T26" fmla="*/ 213 w 2187"/>
                <a:gd name="T27" fmla="*/ 916 h 1474"/>
                <a:gd name="T28" fmla="*/ 0 w 2187"/>
                <a:gd name="T29" fmla="*/ 916 h 1474"/>
                <a:gd name="T30" fmla="*/ 67 w 2187"/>
                <a:gd name="T31" fmla="*/ 1040 h 1474"/>
                <a:gd name="T32" fmla="*/ 67 w 2187"/>
                <a:gd name="T33" fmla="*/ 1474 h 1474"/>
                <a:gd name="T34" fmla="*/ 2187 w 2187"/>
                <a:gd name="T35" fmla="*/ 1474 h 1474"/>
                <a:gd name="T36" fmla="*/ 2187 w 2187"/>
                <a:gd name="T37" fmla="*/ 953 h 1474"/>
                <a:gd name="T38" fmla="*/ 2042 w 2187"/>
                <a:gd name="T39" fmla="*/ 797 h 1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87" h="1474">
                  <a:moveTo>
                    <a:pt x="2042" y="797"/>
                  </a:moveTo>
                  <a:lnTo>
                    <a:pt x="1945" y="894"/>
                  </a:lnTo>
                  <a:lnTo>
                    <a:pt x="1945" y="658"/>
                  </a:lnTo>
                  <a:lnTo>
                    <a:pt x="2005" y="543"/>
                  </a:lnTo>
                  <a:lnTo>
                    <a:pt x="912" y="543"/>
                  </a:lnTo>
                  <a:lnTo>
                    <a:pt x="912" y="916"/>
                  </a:lnTo>
                  <a:lnTo>
                    <a:pt x="755" y="916"/>
                  </a:lnTo>
                  <a:lnTo>
                    <a:pt x="708" y="0"/>
                  </a:lnTo>
                  <a:lnTo>
                    <a:pt x="541" y="0"/>
                  </a:lnTo>
                  <a:lnTo>
                    <a:pt x="503" y="916"/>
                  </a:lnTo>
                  <a:lnTo>
                    <a:pt x="466" y="916"/>
                  </a:lnTo>
                  <a:lnTo>
                    <a:pt x="419" y="0"/>
                  </a:lnTo>
                  <a:lnTo>
                    <a:pt x="251" y="0"/>
                  </a:lnTo>
                  <a:lnTo>
                    <a:pt x="213" y="916"/>
                  </a:lnTo>
                  <a:lnTo>
                    <a:pt x="0" y="916"/>
                  </a:lnTo>
                  <a:lnTo>
                    <a:pt x="67" y="1040"/>
                  </a:lnTo>
                  <a:lnTo>
                    <a:pt x="67" y="1474"/>
                  </a:lnTo>
                  <a:lnTo>
                    <a:pt x="2187" y="1474"/>
                  </a:lnTo>
                  <a:lnTo>
                    <a:pt x="2187" y="953"/>
                  </a:lnTo>
                  <a:lnTo>
                    <a:pt x="2042" y="797"/>
                  </a:lnTo>
                  <a:close/>
                </a:path>
              </a:pathLst>
            </a:custGeom>
            <a:solidFill>
              <a:srgbClr val="000000"/>
            </a:solidFill>
            <a:ln w="3175" cmpd="sng">
              <a:solidFill>
                <a:srgbClr val="FB0129"/>
              </a:solidFill>
              <a:round/>
              <a:headEnd/>
              <a:tailEnd/>
            </a:ln>
          </p:spPr>
          <p:txBody>
            <a:bodyPr/>
            <a:lstStyle/>
            <a:p>
              <a:pPr defTabSz="609539"/>
              <a:endParaRPr lang="en-US" sz="2399" b="1">
                <a:solidFill>
                  <a:srgbClr val="000000"/>
                </a:solidFill>
              </a:endParaRPr>
            </a:p>
          </p:txBody>
        </p:sp>
        <p:sp>
          <p:nvSpPr>
            <p:cNvPr id="396" name="Freeform 334">
              <a:extLst>
                <a:ext uri="{FF2B5EF4-FFF2-40B4-BE49-F238E27FC236}">
                  <a16:creationId xmlns:a16="http://schemas.microsoft.com/office/drawing/2014/main" id="{EEB4363C-F956-4D86-BD14-D8086A00A5B8}"/>
                </a:ext>
              </a:extLst>
            </p:cNvPr>
            <p:cNvSpPr>
              <a:spLocks/>
            </p:cNvSpPr>
            <p:nvPr/>
          </p:nvSpPr>
          <p:spPr bwMode="auto">
            <a:xfrm>
              <a:off x="3787" y="829"/>
              <a:ext cx="74" cy="47"/>
            </a:xfrm>
            <a:custGeom>
              <a:avLst/>
              <a:gdLst>
                <a:gd name="T0" fmla="*/ 923 w 923"/>
                <a:gd name="T1" fmla="*/ 116 h 579"/>
                <a:gd name="T2" fmla="*/ 923 w 923"/>
                <a:gd name="T3" fmla="*/ 366 h 579"/>
                <a:gd name="T4" fmla="*/ 473 w 923"/>
                <a:gd name="T5" fmla="*/ 366 h 579"/>
                <a:gd name="T6" fmla="*/ 473 w 923"/>
                <a:gd name="T7" fmla="*/ 579 h 579"/>
                <a:gd name="T8" fmla="*/ 0 w 923"/>
                <a:gd name="T9" fmla="*/ 579 h 579"/>
                <a:gd name="T10" fmla="*/ 0 w 923"/>
                <a:gd name="T11" fmla="*/ 149 h 579"/>
                <a:gd name="T12" fmla="*/ 122 w 923"/>
                <a:gd name="T13" fmla="*/ 16 h 579"/>
                <a:gd name="T14" fmla="*/ 232 w 923"/>
                <a:gd name="T15" fmla="*/ 136 h 579"/>
                <a:gd name="T16" fmla="*/ 355 w 923"/>
                <a:gd name="T17" fmla="*/ 11 h 579"/>
                <a:gd name="T18" fmla="*/ 453 w 923"/>
                <a:gd name="T19" fmla="*/ 109 h 579"/>
                <a:gd name="T20" fmla="*/ 578 w 923"/>
                <a:gd name="T21" fmla="*/ 0 h 579"/>
                <a:gd name="T22" fmla="*/ 708 w 923"/>
                <a:gd name="T23" fmla="*/ 115 h 579"/>
                <a:gd name="T24" fmla="*/ 818 w 923"/>
                <a:gd name="T25" fmla="*/ 3 h 579"/>
                <a:gd name="T26" fmla="*/ 923 w 923"/>
                <a:gd name="T27" fmla="*/ 116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23" h="579">
                  <a:moveTo>
                    <a:pt x="923" y="116"/>
                  </a:moveTo>
                  <a:lnTo>
                    <a:pt x="923" y="366"/>
                  </a:lnTo>
                  <a:lnTo>
                    <a:pt x="473" y="366"/>
                  </a:lnTo>
                  <a:lnTo>
                    <a:pt x="473" y="579"/>
                  </a:lnTo>
                  <a:lnTo>
                    <a:pt x="0" y="579"/>
                  </a:lnTo>
                  <a:lnTo>
                    <a:pt x="0" y="149"/>
                  </a:lnTo>
                  <a:lnTo>
                    <a:pt x="122" y="16"/>
                  </a:lnTo>
                  <a:lnTo>
                    <a:pt x="232" y="136"/>
                  </a:lnTo>
                  <a:lnTo>
                    <a:pt x="355" y="11"/>
                  </a:lnTo>
                  <a:lnTo>
                    <a:pt x="453" y="109"/>
                  </a:lnTo>
                  <a:lnTo>
                    <a:pt x="578" y="0"/>
                  </a:lnTo>
                  <a:lnTo>
                    <a:pt x="708" y="115"/>
                  </a:lnTo>
                  <a:lnTo>
                    <a:pt x="818" y="3"/>
                  </a:lnTo>
                  <a:lnTo>
                    <a:pt x="923" y="116"/>
                  </a:lnTo>
                  <a:close/>
                </a:path>
              </a:pathLst>
            </a:custGeom>
            <a:solidFill>
              <a:srgbClr val="FFFFFF"/>
            </a:solidFill>
            <a:ln w="3175" cmpd="sng">
              <a:solidFill>
                <a:srgbClr val="FB0129"/>
              </a:solidFill>
              <a:round/>
              <a:headEnd/>
              <a:tailEnd/>
            </a:ln>
          </p:spPr>
          <p:txBody>
            <a:bodyPr/>
            <a:lstStyle/>
            <a:p>
              <a:pPr defTabSz="609539"/>
              <a:endParaRPr lang="en-US" sz="2399" b="1">
                <a:solidFill>
                  <a:srgbClr val="000000"/>
                </a:solidFill>
              </a:endParaRPr>
            </a:p>
          </p:txBody>
        </p:sp>
        <p:sp>
          <p:nvSpPr>
            <p:cNvPr id="397" name="Rectangle 335">
              <a:extLst>
                <a:ext uri="{FF2B5EF4-FFF2-40B4-BE49-F238E27FC236}">
                  <a16:creationId xmlns:a16="http://schemas.microsoft.com/office/drawing/2014/main" id="{028EA163-8CCB-4502-AB10-E5C501EF07A0}"/>
                </a:ext>
              </a:extLst>
            </p:cNvPr>
            <p:cNvSpPr>
              <a:spLocks noChangeArrowheads="1"/>
            </p:cNvSpPr>
            <p:nvPr/>
          </p:nvSpPr>
          <p:spPr bwMode="auto">
            <a:xfrm>
              <a:off x="3828" y="862"/>
              <a:ext cx="10" cy="14"/>
            </a:xfrm>
            <a:prstGeom prst="rect">
              <a:avLst/>
            </a:prstGeom>
            <a:solidFill>
              <a:srgbClr val="FFFFFF"/>
            </a:solidFill>
            <a:ln w="3175">
              <a:solidFill>
                <a:srgbClr val="FB0129"/>
              </a:solidFill>
              <a:miter lim="800000"/>
              <a:headEnd/>
              <a:tailEnd/>
            </a:ln>
          </p:spPr>
          <p:txBody>
            <a:bodyPr/>
            <a:lstStyle/>
            <a:p>
              <a:pPr defTabSz="609539"/>
              <a:endParaRPr lang="en-US" sz="2399" b="1">
                <a:solidFill>
                  <a:srgbClr val="000000"/>
                </a:solidFill>
              </a:endParaRPr>
            </a:p>
          </p:txBody>
        </p:sp>
        <p:sp>
          <p:nvSpPr>
            <p:cNvPr id="398" name="Rectangle 336">
              <a:extLst>
                <a:ext uri="{FF2B5EF4-FFF2-40B4-BE49-F238E27FC236}">
                  <a16:creationId xmlns:a16="http://schemas.microsoft.com/office/drawing/2014/main" id="{D6F948F9-DDDE-4D80-A1D0-D211C9362E61}"/>
                </a:ext>
              </a:extLst>
            </p:cNvPr>
            <p:cNvSpPr>
              <a:spLocks noChangeArrowheads="1"/>
            </p:cNvSpPr>
            <p:nvPr/>
          </p:nvSpPr>
          <p:spPr bwMode="auto">
            <a:xfrm>
              <a:off x="3841" y="862"/>
              <a:ext cx="9" cy="14"/>
            </a:xfrm>
            <a:prstGeom prst="rect">
              <a:avLst/>
            </a:prstGeom>
            <a:solidFill>
              <a:srgbClr val="FFFFFF"/>
            </a:solidFill>
            <a:ln w="3175">
              <a:solidFill>
                <a:srgbClr val="FB0129"/>
              </a:solidFill>
              <a:miter lim="800000"/>
              <a:headEnd/>
              <a:tailEnd/>
            </a:ln>
          </p:spPr>
          <p:txBody>
            <a:bodyPr/>
            <a:lstStyle/>
            <a:p>
              <a:pPr defTabSz="609539"/>
              <a:endParaRPr lang="en-US" sz="2399" b="1">
                <a:solidFill>
                  <a:srgbClr val="000000"/>
                </a:solidFill>
              </a:endParaRPr>
            </a:p>
          </p:txBody>
        </p:sp>
        <p:sp>
          <p:nvSpPr>
            <p:cNvPr id="399" name="Rectangle 337">
              <a:extLst>
                <a:ext uri="{FF2B5EF4-FFF2-40B4-BE49-F238E27FC236}">
                  <a16:creationId xmlns:a16="http://schemas.microsoft.com/office/drawing/2014/main" id="{DB899881-C7D0-45A4-88F9-7F164CE0BF9D}"/>
                </a:ext>
              </a:extLst>
            </p:cNvPr>
            <p:cNvSpPr>
              <a:spLocks noChangeArrowheads="1"/>
            </p:cNvSpPr>
            <p:nvPr/>
          </p:nvSpPr>
          <p:spPr bwMode="auto">
            <a:xfrm>
              <a:off x="3853" y="862"/>
              <a:ext cx="8" cy="14"/>
            </a:xfrm>
            <a:prstGeom prst="rect">
              <a:avLst/>
            </a:prstGeom>
            <a:solidFill>
              <a:srgbClr val="FFFFFF"/>
            </a:solidFill>
            <a:ln w="3175">
              <a:solidFill>
                <a:srgbClr val="FB0129"/>
              </a:solidFill>
              <a:miter lim="800000"/>
              <a:headEnd/>
              <a:tailEnd/>
            </a:ln>
          </p:spPr>
          <p:txBody>
            <a:bodyPr/>
            <a:lstStyle/>
            <a:p>
              <a:pPr defTabSz="609539"/>
              <a:endParaRPr lang="en-US" sz="2399" b="1">
                <a:solidFill>
                  <a:srgbClr val="000000"/>
                </a:solidFill>
              </a:endParaRPr>
            </a:p>
          </p:txBody>
        </p:sp>
        <p:sp>
          <p:nvSpPr>
            <p:cNvPr id="400" name="Freeform 338">
              <a:extLst>
                <a:ext uri="{FF2B5EF4-FFF2-40B4-BE49-F238E27FC236}">
                  <a16:creationId xmlns:a16="http://schemas.microsoft.com/office/drawing/2014/main" id="{A91DC06D-C77F-4D74-A29C-48CBD7033A25}"/>
                </a:ext>
              </a:extLst>
            </p:cNvPr>
            <p:cNvSpPr>
              <a:spLocks/>
            </p:cNvSpPr>
            <p:nvPr/>
          </p:nvSpPr>
          <p:spPr bwMode="auto">
            <a:xfrm>
              <a:off x="3765" y="808"/>
              <a:ext cx="79" cy="68"/>
            </a:xfrm>
            <a:custGeom>
              <a:avLst/>
              <a:gdLst>
                <a:gd name="T0" fmla="*/ 950 w 984"/>
                <a:gd name="T1" fmla="*/ 64 h 848"/>
                <a:gd name="T2" fmla="*/ 950 w 984"/>
                <a:gd name="T3" fmla="*/ 306 h 848"/>
                <a:gd name="T4" fmla="*/ 847 w 984"/>
                <a:gd name="T5" fmla="*/ 213 h 848"/>
                <a:gd name="T6" fmla="*/ 725 w 984"/>
                <a:gd name="T7" fmla="*/ 322 h 848"/>
                <a:gd name="T8" fmla="*/ 624 w 984"/>
                <a:gd name="T9" fmla="*/ 223 h 848"/>
                <a:gd name="T10" fmla="*/ 502 w 984"/>
                <a:gd name="T11" fmla="*/ 345 h 848"/>
                <a:gd name="T12" fmla="*/ 391 w 984"/>
                <a:gd name="T13" fmla="*/ 224 h 848"/>
                <a:gd name="T14" fmla="*/ 228 w 984"/>
                <a:gd name="T15" fmla="*/ 402 h 848"/>
                <a:gd name="T16" fmla="*/ 228 w 984"/>
                <a:gd name="T17" fmla="*/ 848 h 848"/>
                <a:gd name="T18" fmla="*/ 0 w 984"/>
                <a:gd name="T19" fmla="*/ 848 h 848"/>
                <a:gd name="T20" fmla="*/ 0 w 984"/>
                <a:gd name="T21" fmla="*/ 0 h 848"/>
                <a:gd name="T22" fmla="*/ 984 w 984"/>
                <a:gd name="T23" fmla="*/ 0 h 848"/>
                <a:gd name="T24" fmla="*/ 950 w 984"/>
                <a:gd name="T25" fmla="*/ 64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4" h="848">
                  <a:moveTo>
                    <a:pt x="950" y="64"/>
                  </a:moveTo>
                  <a:lnTo>
                    <a:pt x="950" y="306"/>
                  </a:lnTo>
                  <a:lnTo>
                    <a:pt x="847" y="213"/>
                  </a:lnTo>
                  <a:lnTo>
                    <a:pt x="725" y="322"/>
                  </a:lnTo>
                  <a:lnTo>
                    <a:pt x="624" y="223"/>
                  </a:lnTo>
                  <a:lnTo>
                    <a:pt x="502" y="345"/>
                  </a:lnTo>
                  <a:lnTo>
                    <a:pt x="391" y="224"/>
                  </a:lnTo>
                  <a:lnTo>
                    <a:pt x="228" y="402"/>
                  </a:lnTo>
                  <a:lnTo>
                    <a:pt x="228" y="848"/>
                  </a:lnTo>
                  <a:lnTo>
                    <a:pt x="0" y="848"/>
                  </a:lnTo>
                  <a:lnTo>
                    <a:pt x="0" y="0"/>
                  </a:lnTo>
                  <a:lnTo>
                    <a:pt x="984" y="0"/>
                  </a:lnTo>
                  <a:lnTo>
                    <a:pt x="950" y="64"/>
                  </a:lnTo>
                  <a:close/>
                </a:path>
              </a:pathLst>
            </a:custGeom>
            <a:solidFill>
              <a:srgbClr val="FFFFFF"/>
            </a:solidFill>
            <a:ln w="3175" cmpd="sng">
              <a:solidFill>
                <a:srgbClr val="FB0129"/>
              </a:solidFill>
              <a:round/>
              <a:headEnd/>
              <a:tailEnd/>
            </a:ln>
          </p:spPr>
          <p:txBody>
            <a:bodyPr/>
            <a:lstStyle/>
            <a:p>
              <a:pPr defTabSz="609539"/>
              <a:endParaRPr lang="en-US" sz="2399" b="1">
                <a:solidFill>
                  <a:srgbClr val="000000"/>
                </a:solidFill>
              </a:endParaRPr>
            </a:p>
          </p:txBody>
        </p:sp>
        <p:sp>
          <p:nvSpPr>
            <p:cNvPr id="401" name="Freeform 339">
              <a:extLst>
                <a:ext uri="{FF2B5EF4-FFF2-40B4-BE49-F238E27FC236}">
                  <a16:creationId xmlns:a16="http://schemas.microsoft.com/office/drawing/2014/main" id="{01C38EC5-11A9-457C-892F-106FC0BC1800}"/>
                </a:ext>
              </a:extLst>
            </p:cNvPr>
            <p:cNvSpPr>
              <a:spLocks/>
            </p:cNvSpPr>
            <p:nvPr/>
          </p:nvSpPr>
          <p:spPr bwMode="auto">
            <a:xfrm>
              <a:off x="3733" y="764"/>
              <a:ext cx="13" cy="70"/>
            </a:xfrm>
            <a:custGeom>
              <a:avLst/>
              <a:gdLst>
                <a:gd name="T0" fmla="*/ 37 w 170"/>
                <a:gd name="T1" fmla="*/ 0 h 876"/>
                <a:gd name="T2" fmla="*/ 126 w 170"/>
                <a:gd name="T3" fmla="*/ 0 h 876"/>
                <a:gd name="T4" fmla="*/ 128 w 170"/>
                <a:gd name="T5" fmla="*/ 36 h 876"/>
                <a:gd name="T6" fmla="*/ 81 w 170"/>
                <a:gd name="T7" fmla="*/ 36 h 876"/>
                <a:gd name="T8" fmla="*/ 81 w 170"/>
                <a:gd name="T9" fmla="*/ 78 h 876"/>
                <a:gd name="T10" fmla="*/ 131 w 170"/>
                <a:gd name="T11" fmla="*/ 78 h 876"/>
                <a:gd name="T12" fmla="*/ 170 w 170"/>
                <a:gd name="T13" fmla="*/ 876 h 876"/>
                <a:gd name="T14" fmla="*/ 0 w 170"/>
                <a:gd name="T15" fmla="*/ 876 h 876"/>
                <a:gd name="T16" fmla="*/ 37 w 170"/>
                <a:gd name="T1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0" h="876">
                  <a:moveTo>
                    <a:pt x="37" y="0"/>
                  </a:moveTo>
                  <a:lnTo>
                    <a:pt x="126" y="0"/>
                  </a:lnTo>
                  <a:lnTo>
                    <a:pt x="128" y="36"/>
                  </a:lnTo>
                  <a:lnTo>
                    <a:pt x="81" y="36"/>
                  </a:lnTo>
                  <a:lnTo>
                    <a:pt x="81" y="78"/>
                  </a:lnTo>
                  <a:lnTo>
                    <a:pt x="131" y="78"/>
                  </a:lnTo>
                  <a:lnTo>
                    <a:pt x="170" y="876"/>
                  </a:lnTo>
                  <a:lnTo>
                    <a:pt x="0" y="876"/>
                  </a:lnTo>
                  <a:lnTo>
                    <a:pt x="37" y="0"/>
                  </a:lnTo>
                  <a:close/>
                </a:path>
              </a:pathLst>
            </a:custGeom>
            <a:solidFill>
              <a:srgbClr val="FFFFFF"/>
            </a:solidFill>
            <a:ln w="3175" cmpd="sng">
              <a:solidFill>
                <a:srgbClr val="FB0129"/>
              </a:solidFill>
              <a:round/>
              <a:headEnd/>
              <a:tailEnd/>
            </a:ln>
          </p:spPr>
          <p:txBody>
            <a:bodyPr/>
            <a:lstStyle/>
            <a:p>
              <a:pPr defTabSz="609539"/>
              <a:endParaRPr lang="en-US" sz="2399" b="1">
                <a:solidFill>
                  <a:srgbClr val="000000"/>
                </a:solidFill>
              </a:endParaRPr>
            </a:p>
          </p:txBody>
        </p:sp>
        <p:sp>
          <p:nvSpPr>
            <p:cNvPr id="402" name="Freeform 340">
              <a:extLst>
                <a:ext uri="{FF2B5EF4-FFF2-40B4-BE49-F238E27FC236}">
                  <a16:creationId xmlns:a16="http://schemas.microsoft.com/office/drawing/2014/main" id="{FB04B427-A0A5-4B69-AD6A-1AF8351A8E4A}"/>
                </a:ext>
              </a:extLst>
            </p:cNvPr>
            <p:cNvSpPr>
              <a:spLocks/>
            </p:cNvSpPr>
            <p:nvPr/>
          </p:nvSpPr>
          <p:spPr bwMode="auto">
            <a:xfrm>
              <a:off x="3709" y="764"/>
              <a:ext cx="14" cy="70"/>
            </a:xfrm>
            <a:custGeom>
              <a:avLst/>
              <a:gdLst>
                <a:gd name="T0" fmla="*/ 37 w 171"/>
                <a:gd name="T1" fmla="*/ 0 h 876"/>
                <a:gd name="T2" fmla="*/ 126 w 171"/>
                <a:gd name="T3" fmla="*/ 0 h 876"/>
                <a:gd name="T4" fmla="*/ 128 w 171"/>
                <a:gd name="T5" fmla="*/ 42 h 876"/>
                <a:gd name="T6" fmla="*/ 86 w 171"/>
                <a:gd name="T7" fmla="*/ 42 h 876"/>
                <a:gd name="T8" fmla="*/ 86 w 171"/>
                <a:gd name="T9" fmla="*/ 83 h 876"/>
                <a:gd name="T10" fmla="*/ 130 w 171"/>
                <a:gd name="T11" fmla="*/ 83 h 876"/>
                <a:gd name="T12" fmla="*/ 171 w 171"/>
                <a:gd name="T13" fmla="*/ 876 h 876"/>
                <a:gd name="T14" fmla="*/ 0 w 171"/>
                <a:gd name="T15" fmla="*/ 876 h 876"/>
                <a:gd name="T16" fmla="*/ 37 w 171"/>
                <a:gd name="T17" fmla="*/ 0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1" h="876">
                  <a:moveTo>
                    <a:pt x="37" y="0"/>
                  </a:moveTo>
                  <a:lnTo>
                    <a:pt x="126" y="0"/>
                  </a:lnTo>
                  <a:lnTo>
                    <a:pt x="128" y="42"/>
                  </a:lnTo>
                  <a:lnTo>
                    <a:pt x="86" y="42"/>
                  </a:lnTo>
                  <a:lnTo>
                    <a:pt x="86" y="83"/>
                  </a:lnTo>
                  <a:lnTo>
                    <a:pt x="130" y="83"/>
                  </a:lnTo>
                  <a:lnTo>
                    <a:pt x="171" y="876"/>
                  </a:lnTo>
                  <a:lnTo>
                    <a:pt x="0" y="876"/>
                  </a:lnTo>
                  <a:lnTo>
                    <a:pt x="37" y="0"/>
                  </a:lnTo>
                  <a:close/>
                </a:path>
              </a:pathLst>
            </a:custGeom>
            <a:solidFill>
              <a:srgbClr val="FFFFFF"/>
            </a:solidFill>
            <a:ln w="3175" cmpd="sng">
              <a:solidFill>
                <a:srgbClr val="FB0129"/>
              </a:solidFill>
              <a:round/>
              <a:headEnd/>
              <a:tailEnd/>
            </a:ln>
          </p:spPr>
          <p:txBody>
            <a:bodyPr/>
            <a:lstStyle/>
            <a:p>
              <a:pPr defTabSz="609539"/>
              <a:endParaRPr lang="en-US" sz="2399" b="1">
                <a:solidFill>
                  <a:srgbClr val="000000"/>
                </a:solidFill>
              </a:endParaRPr>
            </a:p>
          </p:txBody>
        </p:sp>
        <p:sp>
          <p:nvSpPr>
            <p:cNvPr id="403" name="Freeform 341">
              <a:extLst>
                <a:ext uri="{FF2B5EF4-FFF2-40B4-BE49-F238E27FC236}">
                  <a16:creationId xmlns:a16="http://schemas.microsoft.com/office/drawing/2014/main" id="{0DB588BD-67ED-4A1D-8C59-F7565EF146E8}"/>
                </a:ext>
              </a:extLst>
            </p:cNvPr>
            <p:cNvSpPr>
              <a:spLocks/>
            </p:cNvSpPr>
            <p:nvPr/>
          </p:nvSpPr>
          <p:spPr bwMode="auto">
            <a:xfrm>
              <a:off x="3695" y="838"/>
              <a:ext cx="67" cy="38"/>
            </a:xfrm>
            <a:custGeom>
              <a:avLst/>
              <a:gdLst>
                <a:gd name="T0" fmla="*/ 0 w 843"/>
                <a:gd name="T1" fmla="*/ 0 h 475"/>
                <a:gd name="T2" fmla="*/ 843 w 843"/>
                <a:gd name="T3" fmla="*/ 0 h 475"/>
                <a:gd name="T4" fmla="*/ 843 w 843"/>
                <a:gd name="T5" fmla="*/ 97 h 475"/>
                <a:gd name="T6" fmla="*/ 752 w 843"/>
                <a:gd name="T7" fmla="*/ 97 h 475"/>
                <a:gd name="T8" fmla="*/ 752 w 843"/>
                <a:gd name="T9" fmla="*/ 139 h 475"/>
                <a:gd name="T10" fmla="*/ 843 w 843"/>
                <a:gd name="T11" fmla="*/ 139 h 475"/>
                <a:gd name="T12" fmla="*/ 843 w 843"/>
                <a:gd name="T13" fmla="*/ 212 h 475"/>
                <a:gd name="T14" fmla="*/ 752 w 843"/>
                <a:gd name="T15" fmla="*/ 212 h 475"/>
                <a:gd name="T16" fmla="*/ 752 w 843"/>
                <a:gd name="T17" fmla="*/ 254 h 475"/>
                <a:gd name="T18" fmla="*/ 843 w 843"/>
                <a:gd name="T19" fmla="*/ 254 h 475"/>
                <a:gd name="T20" fmla="*/ 843 w 843"/>
                <a:gd name="T21" fmla="*/ 329 h 475"/>
                <a:gd name="T22" fmla="*/ 752 w 843"/>
                <a:gd name="T23" fmla="*/ 329 h 475"/>
                <a:gd name="T24" fmla="*/ 752 w 843"/>
                <a:gd name="T25" fmla="*/ 369 h 475"/>
                <a:gd name="T26" fmla="*/ 843 w 843"/>
                <a:gd name="T27" fmla="*/ 369 h 475"/>
                <a:gd name="T28" fmla="*/ 843 w 843"/>
                <a:gd name="T29" fmla="*/ 475 h 475"/>
                <a:gd name="T30" fmla="*/ 39 w 843"/>
                <a:gd name="T31" fmla="*/ 475 h 475"/>
                <a:gd name="T32" fmla="*/ 39 w 843"/>
                <a:gd name="T33" fmla="*/ 73 h 475"/>
                <a:gd name="T34" fmla="*/ 0 w 843"/>
                <a:gd name="T35"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43" h="475">
                  <a:moveTo>
                    <a:pt x="0" y="0"/>
                  </a:moveTo>
                  <a:lnTo>
                    <a:pt x="843" y="0"/>
                  </a:lnTo>
                  <a:lnTo>
                    <a:pt x="843" y="97"/>
                  </a:lnTo>
                  <a:lnTo>
                    <a:pt x="752" y="97"/>
                  </a:lnTo>
                  <a:lnTo>
                    <a:pt x="752" y="139"/>
                  </a:lnTo>
                  <a:lnTo>
                    <a:pt x="843" y="139"/>
                  </a:lnTo>
                  <a:lnTo>
                    <a:pt x="843" y="212"/>
                  </a:lnTo>
                  <a:lnTo>
                    <a:pt x="752" y="212"/>
                  </a:lnTo>
                  <a:lnTo>
                    <a:pt x="752" y="254"/>
                  </a:lnTo>
                  <a:lnTo>
                    <a:pt x="843" y="254"/>
                  </a:lnTo>
                  <a:lnTo>
                    <a:pt x="843" y="329"/>
                  </a:lnTo>
                  <a:lnTo>
                    <a:pt x="752" y="329"/>
                  </a:lnTo>
                  <a:lnTo>
                    <a:pt x="752" y="369"/>
                  </a:lnTo>
                  <a:lnTo>
                    <a:pt x="843" y="369"/>
                  </a:lnTo>
                  <a:lnTo>
                    <a:pt x="843" y="475"/>
                  </a:lnTo>
                  <a:lnTo>
                    <a:pt x="39" y="475"/>
                  </a:lnTo>
                  <a:lnTo>
                    <a:pt x="39" y="73"/>
                  </a:lnTo>
                  <a:lnTo>
                    <a:pt x="0" y="0"/>
                  </a:lnTo>
                  <a:close/>
                </a:path>
              </a:pathLst>
            </a:custGeom>
            <a:solidFill>
              <a:srgbClr val="FFFFFF"/>
            </a:solidFill>
            <a:ln w="3175" cmpd="sng">
              <a:solidFill>
                <a:srgbClr val="FB0129"/>
              </a:solidFill>
              <a:round/>
              <a:headEnd/>
              <a:tailEnd/>
            </a:ln>
          </p:spPr>
          <p:txBody>
            <a:bodyPr/>
            <a:lstStyle/>
            <a:p>
              <a:pPr defTabSz="609539"/>
              <a:endParaRPr lang="en-US" sz="2399" b="1">
                <a:solidFill>
                  <a:srgbClr val="000000"/>
                </a:solidFill>
              </a:endParaRPr>
            </a:p>
          </p:txBody>
        </p:sp>
        <p:sp>
          <p:nvSpPr>
            <p:cNvPr id="404" name="Rectangle 342">
              <a:extLst>
                <a:ext uri="{FF2B5EF4-FFF2-40B4-BE49-F238E27FC236}">
                  <a16:creationId xmlns:a16="http://schemas.microsoft.com/office/drawing/2014/main" id="{034E9DEE-0F0B-4F78-B223-EB22C253C4C3}"/>
                </a:ext>
              </a:extLst>
            </p:cNvPr>
            <p:cNvSpPr>
              <a:spLocks noChangeArrowheads="1"/>
            </p:cNvSpPr>
            <p:nvPr/>
          </p:nvSpPr>
          <p:spPr bwMode="auto">
            <a:xfrm>
              <a:off x="3772" y="813"/>
              <a:ext cx="8"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405" name="Rectangle 343">
              <a:extLst>
                <a:ext uri="{FF2B5EF4-FFF2-40B4-BE49-F238E27FC236}">
                  <a16:creationId xmlns:a16="http://schemas.microsoft.com/office/drawing/2014/main" id="{E417BD92-BEE8-41B4-8E94-0116D235AA97}"/>
                </a:ext>
              </a:extLst>
            </p:cNvPr>
            <p:cNvSpPr>
              <a:spLocks noChangeArrowheads="1"/>
            </p:cNvSpPr>
            <p:nvPr/>
          </p:nvSpPr>
          <p:spPr bwMode="auto">
            <a:xfrm>
              <a:off x="3785" y="813"/>
              <a:ext cx="8"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406" name="Rectangle 344">
              <a:extLst>
                <a:ext uri="{FF2B5EF4-FFF2-40B4-BE49-F238E27FC236}">
                  <a16:creationId xmlns:a16="http://schemas.microsoft.com/office/drawing/2014/main" id="{5C6FC681-7BF8-4B95-9691-47F57329E914}"/>
                </a:ext>
              </a:extLst>
            </p:cNvPr>
            <p:cNvSpPr>
              <a:spLocks noChangeArrowheads="1"/>
            </p:cNvSpPr>
            <p:nvPr/>
          </p:nvSpPr>
          <p:spPr bwMode="auto">
            <a:xfrm>
              <a:off x="3798" y="813"/>
              <a:ext cx="8"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407" name="Rectangle 345">
              <a:extLst>
                <a:ext uri="{FF2B5EF4-FFF2-40B4-BE49-F238E27FC236}">
                  <a16:creationId xmlns:a16="http://schemas.microsoft.com/office/drawing/2014/main" id="{DE998F08-B08E-4784-93D5-50899660C9B5}"/>
                </a:ext>
              </a:extLst>
            </p:cNvPr>
            <p:cNvSpPr>
              <a:spLocks noChangeArrowheads="1"/>
            </p:cNvSpPr>
            <p:nvPr/>
          </p:nvSpPr>
          <p:spPr bwMode="auto">
            <a:xfrm>
              <a:off x="3811" y="813"/>
              <a:ext cx="7"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408" name="Rectangle 346">
              <a:extLst>
                <a:ext uri="{FF2B5EF4-FFF2-40B4-BE49-F238E27FC236}">
                  <a16:creationId xmlns:a16="http://schemas.microsoft.com/office/drawing/2014/main" id="{80425AA8-063C-44F4-9F5E-47BFDE44C6A2}"/>
                </a:ext>
              </a:extLst>
            </p:cNvPr>
            <p:cNvSpPr>
              <a:spLocks noChangeArrowheads="1"/>
            </p:cNvSpPr>
            <p:nvPr/>
          </p:nvSpPr>
          <p:spPr bwMode="auto">
            <a:xfrm>
              <a:off x="3823" y="813"/>
              <a:ext cx="8"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409" name="Rectangle 347">
              <a:extLst>
                <a:ext uri="{FF2B5EF4-FFF2-40B4-BE49-F238E27FC236}">
                  <a16:creationId xmlns:a16="http://schemas.microsoft.com/office/drawing/2014/main" id="{40270CA9-14B3-4C81-A26C-8BA17D5386B6}"/>
                </a:ext>
              </a:extLst>
            </p:cNvPr>
            <p:cNvSpPr>
              <a:spLocks noChangeArrowheads="1"/>
            </p:cNvSpPr>
            <p:nvPr/>
          </p:nvSpPr>
          <p:spPr bwMode="auto">
            <a:xfrm>
              <a:off x="3703" y="845"/>
              <a:ext cx="8"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410" name="Rectangle 348">
              <a:extLst>
                <a:ext uri="{FF2B5EF4-FFF2-40B4-BE49-F238E27FC236}">
                  <a16:creationId xmlns:a16="http://schemas.microsoft.com/office/drawing/2014/main" id="{7E41E677-9B99-4386-9A53-7F0A8F35F2FF}"/>
                </a:ext>
              </a:extLst>
            </p:cNvPr>
            <p:cNvSpPr>
              <a:spLocks noChangeArrowheads="1"/>
            </p:cNvSpPr>
            <p:nvPr/>
          </p:nvSpPr>
          <p:spPr bwMode="auto">
            <a:xfrm>
              <a:off x="3716" y="845"/>
              <a:ext cx="8"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411" name="Rectangle 349">
              <a:extLst>
                <a:ext uri="{FF2B5EF4-FFF2-40B4-BE49-F238E27FC236}">
                  <a16:creationId xmlns:a16="http://schemas.microsoft.com/office/drawing/2014/main" id="{5C827756-C26B-4984-A174-78431DEBD1EB}"/>
                </a:ext>
              </a:extLst>
            </p:cNvPr>
            <p:cNvSpPr>
              <a:spLocks noChangeArrowheads="1"/>
            </p:cNvSpPr>
            <p:nvPr/>
          </p:nvSpPr>
          <p:spPr bwMode="auto">
            <a:xfrm>
              <a:off x="3729" y="845"/>
              <a:ext cx="8"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412" name="Rectangle 350">
              <a:extLst>
                <a:ext uri="{FF2B5EF4-FFF2-40B4-BE49-F238E27FC236}">
                  <a16:creationId xmlns:a16="http://schemas.microsoft.com/office/drawing/2014/main" id="{547A5FCB-94BB-4D01-B3D6-19F2DCB982AA}"/>
                </a:ext>
              </a:extLst>
            </p:cNvPr>
            <p:cNvSpPr>
              <a:spLocks noChangeArrowheads="1"/>
            </p:cNvSpPr>
            <p:nvPr/>
          </p:nvSpPr>
          <p:spPr bwMode="auto">
            <a:xfrm>
              <a:off x="3742" y="845"/>
              <a:ext cx="8" cy="4"/>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413" name="Rectangle 351">
              <a:extLst>
                <a:ext uri="{FF2B5EF4-FFF2-40B4-BE49-F238E27FC236}">
                  <a16:creationId xmlns:a16="http://schemas.microsoft.com/office/drawing/2014/main" id="{79E11549-DC0A-420B-9D7B-3DF7127AB386}"/>
                </a:ext>
              </a:extLst>
            </p:cNvPr>
            <p:cNvSpPr>
              <a:spLocks noChangeArrowheads="1"/>
            </p:cNvSpPr>
            <p:nvPr/>
          </p:nvSpPr>
          <p:spPr bwMode="auto">
            <a:xfrm>
              <a:off x="3703" y="855"/>
              <a:ext cx="8" cy="3"/>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414" name="Rectangle 352">
              <a:extLst>
                <a:ext uri="{FF2B5EF4-FFF2-40B4-BE49-F238E27FC236}">
                  <a16:creationId xmlns:a16="http://schemas.microsoft.com/office/drawing/2014/main" id="{F5C2A6E2-5146-4D15-A1DB-8F30B08DAE05}"/>
                </a:ext>
              </a:extLst>
            </p:cNvPr>
            <p:cNvSpPr>
              <a:spLocks noChangeArrowheads="1"/>
            </p:cNvSpPr>
            <p:nvPr/>
          </p:nvSpPr>
          <p:spPr bwMode="auto">
            <a:xfrm>
              <a:off x="3716" y="855"/>
              <a:ext cx="8" cy="3"/>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415" name="Rectangle 353">
              <a:extLst>
                <a:ext uri="{FF2B5EF4-FFF2-40B4-BE49-F238E27FC236}">
                  <a16:creationId xmlns:a16="http://schemas.microsoft.com/office/drawing/2014/main" id="{A9963055-D570-47FF-8304-A138A2140127}"/>
                </a:ext>
              </a:extLst>
            </p:cNvPr>
            <p:cNvSpPr>
              <a:spLocks noChangeArrowheads="1"/>
            </p:cNvSpPr>
            <p:nvPr/>
          </p:nvSpPr>
          <p:spPr bwMode="auto">
            <a:xfrm>
              <a:off x="3729" y="855"/>
              <a:ext cx="8" cy="3"/>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416" name="Rectangle 354">
              <a:extLst>
                <a:ext uri="{FF2B5EF4-FFF2-40B4-BE49-F238E27FC236}">
                  <a16:creationId xmlns:a16="http://schemas.microsoft.com/office/drawing/2014/main" id="{B18CB085-7BAF-4AE3-BE1D-3F3944791D24}"/>
                </a:ext>
              </a:extLst>
            </p:cNvPr>
            <p:cNvSpPr>
              <a:spLocks noChangeArrowheads="1"/>
            </p:cNvSpPr>
            <p:nvPr/>
          </p:nvSpPr>
          <p:spPr bwMode="auto">
            <a:xfrm>
              <a:off x="3742" y="855"/>
              <a:ext cx="8" cy="3"/>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417" name="Rectangle 355">
              <a:extLst>
                <a:ext uri="{FF2B5EF4-FFF2-40B4-BE49-F238E27FC236}">
                  <a16:creationId xmlns:a16="http://schemas.microsoft.com/office/drawing/2014/main" id="{5EFD1D14-6775-4F2E-993F-C7E6FC7C69CD}"/>
                </a:ext>
              </a:extLst>
            </p:cNvPr>
            <p:cNvSpPr>
              <a:spLocks noChangeArrowheads="1"/>
            </p:cNvSpPr>
            <p:nvPr/>
          </p:nvSpPr>
          <p:spPr bwMode="auto">
            <a:xfrm>
              <a:off x="3703" y="864"/>
              <a:ext cx="8" cy="3"/>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418" name="Rectangle 356">
              <a:extLst>
                <a:ext uri="{FF2B5EF4-FFF2-40B4-BE49-F238E27FC236}">
                  <a16:creationId xmlns:a16="http://schemas.microsoft.com/office/drawing/2014/main" id="{1D19BE62-B60C-42F2-8F62-F159E8155B75}"/>
                </a:ext>
              </a:extLst>
            </p:cNvPr>
            <p:cNvSpPr>
              <a:spLocks noChangeArrowheads="1"/>
            </p:cNvSpPr>
            <p:nvPr/>
          </p:nvSpPr>
          <p:spPr bwMode="auto">
            <a:xfrm>
              <a:off x="3716" y="864"/>
              <a:ext cx="8" cy="3"/>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419" name="Rectangle 357">
              <a:extLst>
                <a:ext uri="{FF2B5EF4-FFF2-40B4-BE49-F238E27FC236}">
                  <a16:creationId xmlns:a16="http://schemas.microsoft.com/office/drawing/2014/main" id="{6C1E29F1-5D3A-4293-884D-EF7E797FFAE3}"/>
                </a:ext>
              </a:extLst>
            </p:cNvPr>
            <p:cNvSpPr>
              <a:spLocks noChangeArrowheads="1"/>
            </p:cNvSpPr>
            <p:nvPr/>
          </p:nvSpPr>
          <p:spPr bwMode="auto">
            <a:xfrm>
              <a:off x="3729" y="864"/>
              <a:ext cx="8" cy="3"/>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sp>
          <p:nvSpPr>
            <p:cNvPr id="420" name="Rectangle 358">
              <a:extLst>
                <a:ext uri="{FF2B5EF4-FFF2-40B4-BE49-F238E27FC236}">
                  <a16:creationId xmlns:a16="http://schemas.microsoft.com/office/drawing/2014/main" id="{7164B838-04B8-4092-A2A7-063D3E33A9C0}"/>
                </a:ext>
              </a:extLst>
            </p:cNvPr>
            <p:cNvSpPr>
              <a:spLocks noChangeArrowheads="1"/>
            </p:cNvSpPr>
            <p:nvPr/>
          </p:nvSpPr>
          <p:spPr bwMode="auto">
            <a:xfrm>
              <a:off x="3742" y="864"/>
              <a:ext cx="8" cy="3"/>
            </a:xfrm>
            <a:prstGeom prst="rect">
              <a:avLst/>
            </a:prstGeom>
            <a:solidFill>
              <a:srgbClr val="000000"/>
            </a:solidFill>
            <a:ln w="3175">
              <a:solidFill>
                <a:srgbClr val="FB0129"/>
              </a:solidFill>
              <a:miter lim="800000"/>
              <a:headEnd/>
              <a:tailEnd/>
            </a:ln>
          </p:spPr>
          <p:txBody>
            <a:bodyPr/>
            <a:lstStyle/>
            <a:p>
              <a:pPr defTabSz="609539"/>
              <a:endParaRPr lang="en-US" sz="2399" b="1">
                <a:solidFill>
                  <a:srgbClr val="000000"/>
                </a:solidFill>
              </a:endParaRPr>
            </a:p>
          </p:txBody>
        </p:sp>
      </p:grpSp>
      <p:sp>
        <p:nvSpPr>
          <p:cNvPr id="421" name="Rectangle 361">
            <a:extLst>
              <a:ext uri="{FF2B5EF4-FFF2-40B4-BE49-F238E27FC236}">
                <a16:creationId xmlns:a16="http://schemas.microsoft.com/office/drawing/2014/main" id="{7B9D4AB7-8C5B-451A-8A04-85EDC35196C2}"/>
              </a:ext>
            </a:extLst>
          </p:cNvPr>
          <p:cNvSpPr>
            <a:spLocks noChangeArrowheads="1"/>
          </p:cNvSpPr>
          <p:nvPr/>
        </p:nvSpPr>
        <p:spPr bwMode="auto">
          <a:xfrm>
            <a:off x="6250606" y="613298"/>
            <a:ext cx="252405" cy="139696"/>
          </a:xfrm>
          <a:prstGeom prst="rect">
            <a:avLst/>
          </a:prstGeom>
          <a:solidFill>
            <a:schemeClr val="accent2"/>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609539"/>
            <a:endParaRPr lang="en-US" sz="2399" b="1">
              <a:solidFill>
                <a:srgbClr val="000000"/>
              </a:solidFill>
            </a:endParaRPr>
          </a:p>
        </p:txBody>
      </p:sp>
      <p:sp>
        <p:nvSpPr>
          <p:cNvPr id="422" name="Textplatzhalter 1">
            <a:extLst>
              <a:ext uri="{FF2B5EF4-FFF2-40B4-BE49-F238E27FC236}">
                <a16:creationId xmlns:a16="http://schemas.microsoft.com/office/drawing/2014/main" id="{0D587110-A0C5-4C41-AEB4-F71CF095C70A}"/>
              </a:ext>
            </a:extLst>
          </p:cNvPr>
          <p:cNvSpPr txBox="1">
            <a:spLocks/>
          </p:cNvSpPr>
          <p:nvPr>
            <p:custDataLst>
              <p:tags r:id="rId168"/>
            </p:custDataLst>
          </p:nvPr>
        </p:nvSpPr>
        <p:spPr bwMode="gray">
          <a:xfrm>
            <a:off x="480963" y="1521806"/>
            <a:ext cx="4674521" cy="4234094"/>
          </a:xfrm>
          <a:prstGeom prst="rect">
            <a:avLst/>
          </a:prstGeom>
        </p:spPr>
        <p:txBody>
          <a:bodyPr vert="horz" lIns="0" tIns="0" rIns="0" bIns="0" rtlCol="0">
            <a:noAutofit/>
          </a:bodyPr>
          <a:lstStyle>
            <a:defPPr>
              <a:defRPr lang="de-DE"/>
            </a:defPPr>
            <a:lvl1pPr lvl="0" indent="0" defTabSz="1219444">
              <a:lnSpc>
                <a:spcPct val="120000"/>
              </a:lnSpc>
              <a:spcBef>
                <a:spcPts val="600"/>
              </a:spcBef>
              <a:buClr>
                <a:schemeClr val="accent1"/>
              </a:buClr>
              <a:buSzPct val="100000"/>
              <a:buFont typeface="Wingdings 2" panose="05020102010507070707" pitchFamily="18" charset="2"/>
              <a:buNone/>
              <a:defRPr sz="1600" b="1">
                <a:solidFill>
                  <a:schemeClr val="accent2"/>
                </a:solidFill>
                <a:cs typeface="Arial" panose="020B0604020202020204" pitchFamily="34" charset="0"/>
              </a:defRPr>
            </a:lvl1pPr>
            <a:lvl2pPr marL="0" lvl="1" indent="0" defTabSz="1219444">
              <a:lnSpc>
                <a:spcPct val="120000"/>
              </a:lnSpc>
              <a:spcBef>
                <a:spcPts val="600"/>
              </a:spcBef>
              <a:buClr>
                <a:schemeClr val="accent1"/>
              </a:buClr>
              <a:buFont typeface="Arial" panose="020B0604020202020204" pitchFamily="34" charset="0"/>
              <a:buNone/>
              <a:defRPr sz="1400">
                <a:solidFill>
                  <a:srgbClr val="000000"/>
                </a:solidFill>
                <a:cs typeface="Arial" panose="020B0604020202020204" pitchFamily="34" charset="0"/>
              </a:defRPr>
            </a:lvl2pPr>
            <a:lvl3pPr marL="216000" lvl="2" indent="-216000" defTabSz="1219444">
              <a:lnSpc>
                <a:spcPct val="120000"/>
              </a:lnSpc>
              <a:spcBef>
                <a:spcPts val="600"/>
              </a:spcBef>
              <a:buClr>
                <a:schemeClr val="accent1"/>
              </a:buClr>
              <a:buSzPct val="100000"/>
              <a:buFont typeface="Wingdings 2" panose="05020102010507070707" pitchFamily="18" charset="2"/>
              <a:buChar char=""/>
              <a:tabLst/>
              <a:defRPr sz="1400">
                <a:solidFill>
                  <a:srgbClr val="000000"/>
                </a:solidFill>
                <a:cs typeface="Arial" panose="020B0604020202020204" pitchFamily="34" charset="0"/>
              </a:defRPr>
            </a:lvl3pPr>
            <a:lvl4pPr marL="432000" lvl="3" indent="-216000" defTabSz="1219444">
              <a:lnSpc>
                <a:spcPct val="120000"/>
              </a:lnSpc>
              <a:spcBef>
                <a:spcPts val="600"/>
              </a:spcBef>
              <a:buClr>
                <a:schemeClr val="accent1"/>
              </a:buClr>
              <a:buFont typeface="Arial" panose="020B0604020202020204" pitchFamily="34" charset="0"/>
              <a:buChar char="–"/>
              <a:defRPr sz="1400">
                <a:solidFill>
                  <a:srgbClr val="000000"/>
                </a:solidFill>
                <a:cs typeface="Arial" panose="020B0604020202020204" pitchFamily="34" charset="0"/>
              </a:defRPr>
            </a:lvl4pPr>
            <a:lvl5pPr marL="648000" lvl="4" indent="-216000" defTabSz="1219444">
              <a:lnSpc>
                <a:spcPct val="120000"/>
              </a:lnSpc>
              <a:spcBef>
                <a:spcPts val="600"/>
              </a:spcBef>
              <a:buClr>
                <a:schemeClr val="accent1"/>
              </a:buClr>
              <a:buFont typeface="Wingdings 2" panose="05020102010507070707" pitchFamily="18" charset="2"/>
              <a:buChar char=""/>
              <a:defRPr sz="1400">
                <a:solidFill>
                  <a:srgbClr val="000000"/>
                </a:solidFill>
                <a:cs typeface="Arial" panose="020B0604020202020204" pitchFamily="34" charset="0"/>
              </a:defRPr>
            </a:lvl5pPr>
            <a:lvl6pPr marL="864000" lvl="5" indent="-216000" defTabSz="1219444">
              <a:lnSpc>
                <a:spcPct val="120000"/>
              </a:lnSpc>
              <a:spcBef>
                <a:spcPts val="600"/>
              </a:spcBef>
              <a:buClr>
                <a:schemeClr val="accent1"/>
              </a:buClr>
              <a:buFont typeface="Wingdings 2" panose="05020102010507070707" pitchFamily="18" charset="2"/>
              <a:buChar char=""/>
              <a:defRPr sz="1400"/>
            </a:lvl6pPr>
            <a:lvl7pPr marL="864000" lvl="6" indent="-216000" defTabSz="1219444">
              <a:lnSpc>
                <a:spcPct val="120000"/>
              </a:lnSpc>
              <a:spcBef>
                <a:spcPts val="600"/>
              </a:spcBef>
              <a:buClr>
                <a:schemeClr val="accent1"/>
              </a:buClr>
              <a:buFont typeface="Wingdings 2" panose="05020102010507070707" pitchFamily="18" charset="2"/>
              <a:buChar char=""/>
              <a:defRPr sz="1400"/>
            </a:lvl7pPr>
            <a:lvl8pPr marL="864000" lvl="7" indent="-216000" defTabSz="1219444">
              <a:lnSpc>
                <a:spcPct val="120000"/>
              </a:lnSpc>
              <a:spcBef>
                <a:spcPts val="600"/>
              </a:spcBef>
              <a:buClr>
                <a:schemeClr val="accent1"/>
              </a:buClr>
              <a:buFont typeface="Wingdings 2" panose="05020102010507070707" pitchFamily="18" charset="2"/>
              <a:buChar char=""/>
              <a:defRPr sz="1400"/>
            </a:lvl8pPr>
            <a:lvl9pPr marL="864000" lvl="8" indent="-216000" defTabSz="1219444">
              <a:lnSpc>
                <a:spcPct val="120000"/>
              </a:lnSpc>
              <a:spcBef>
                <a:spcPts val="600"/>
              </a:spcBef>
              <a:buClr>
                <a:schemeClr val="accent1"/>
              </a:buClr>
              <a:buFont typeface="Wingdings 2" panose="05020102010507070707" pitchFamily="18" charset="2"/>
              <a:buChar char=""/>
              <a:defRPr sz="1400"/>
            </a:lvl9pPr>
          </a:lstStyle>
          <a:p>
            <a:pPr lvl="2">
              <a:lnSpc>
                <a:spcPct val="100000"/>
              </a:lnSpc>
            </a:pPr>
            <a:r>
              <a:rPr lang="en-US" altLang="zh-TW" sz="1800" dirty="0"/>
              <a:t>Established in 1980 with the founding of Freudenberg &amp; Vilene International Ltd. (FVI) in HK.</a:t>
            </a:r>
          </a:p>
          <a:p>
            <a:pPr lvl="2">
              <a:lnSpc>
                <a:spcPct val="100000"/>
              </a:lnSpc>
            </a:pPr>
            <a:r>
              <a:rPr lang="en-US" altLang="zh-TW" sz="1800" dirty="0"/>
              <a:t>FVI is a joint venture between two global interlining leaders – Freudenberg &amp; Co. and Japan Vilene Company. </a:t>
            </a:r>
          </a:p>
          <a:p>
            <a:pPr lvl="2">
              <a:lnSpc>
                <a:spcPct val="100000"/>
              </a:lnSpc>
            </a:pPr>
            <a:r>
              <a:rPr lang="en-US" altLang="zh-TW" sz="1800" dirty="0"/>
              <a:t>HK is the Headquarters for Freudenberg’s Global Apparel Division, which is the biggest interlining supplier in the world.   </a:t>
            </a:r>
          </a:p>
          <a:p>
            <a:pPr lvl="2">
              <a:lnSpc>
                <a:spcPct val="100000"/>
              </a:lnSpc>
            </a:pPr>
            <a:r>
              <a:rPr lang="en-US" altLang="zh-TW" sz="1799" dirty="0">
                <a:ea typeface="PMingLiU" pitchFamily="18" charset="-120"/>
                <a:cs typeface="Calibri" panose="020F0502020204030204" pitchFamily="34" charset="0"/>
              </a:rPr>
              <a:t>24 sales offices in 13 countries &amp; regions in Asia.</a:t>
            </a:r>
            <a:endParaRPr lang="en-US" altLang="zh-CN" sz="1799" dirty="0">
              <a:ea typeface="SimSun" panose="02010600030101010101" pitchFamily="2" charset="-122"/>
              <a:cs typeface="Calibri" panose="020F0502020204030204" pitchFamily="34" charset="0"/>
            </a:endParaRPr>
          </a:p>
          <a:p>
            <a:pPr lvl="2">
              <a:lnSpc>
                <a:spcPct val="100000"/>
              </a:lnSpc>
            </a:pPr>
            <a:r>
              <a:rPr lang="en-US" altLang="zh-CN" sz="1800" dirty="0"/>
              <a:t>5 </a:t>
            </a:r>
            <a:r>
              <a:rPr lang="en-US" altLang="zh-TW" sz="1800" dirty="0"/>
              <a:t>production facilities strategically located across Asia.</a:t>
            </a:r>
          </a:p>
          <a:p>
            <a:pPr lvl="2">
              <a:lnSpc>
                <a:spcPct val="100000"/>
              </a:lnSpc>
            </a:pPr>
            <a:r>
              <a:rPr lang="en-US" altLang="zh-TW" sz="1800" dirty="0"/>
              <a:t>Warehouses located in key garment manufacturing locations.</a:t>
            </a:r>
          </a:p>
          <a:p>
            <a:pPr lvl="2"/>
            <a:endParaRPr lang="en-US" dirty="0"/>
          </a:p>
        </p:txBody>
      </p:sp>
      <p:cxnSp>
        <p:nvCxnSpPr>
          <p:cNvPr id="423" name="Gerader Verbinder 16">
            <a:extLst>
              <a:ext uri="{FF2B5EF4-FFF2-40B4-BE49-F238E27FC236}">
                <a16:creationId xmlns:a16="http://schemas.microsoft.com/office/drawing/2014/main" id="{4FCDC256-03C0-4C0B-9E09-D036EA67829B}"/>
              </a:ext>
            </a:extLst>
          </p:cNvPr>
          <p:cNvCxnSpPr>
            <a:cxnSpLocks/>
          </p:cNvCxnSpPr>
          <p:nvPr/>
        </p:nvCxnSpPr>
        <p:spPr bwMode="gray">
          <a:xfrm>
            <a:off x="480963" y="1413570"/>
            <a:ext cx="648000" cy="0"/>
          </a:xfrm>
          <a:prstGeom prst="line">
            <a:avLst/>
          </a:prstGeom>
          <a:ln w="38100" cap="flat">
            <a:gradFill flip="none" rotWithShape="1">
              <a:gsLst>
                <a:gs pos="35000">
                  <a:schemeClr val="accent2">
                    <a:alpha val="50000"/>
                  </a:schemeClr>
                </a:gs>
                <a:gs pos="0">
                  <a:schemeClr val="accent2"/>
                </a:gs>
                <a:gs pos="95000">
                  <a:schemeClr val="accent2">
                    <a:alpha val="0"/>
                  </a:schemeClr>
                </a:gs>
              </a:gsLst>
              <a:lin ang="0" scaled="1"/>
              <a:tileRect/>
            </a:gra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46402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73D0E33-75B4-4EA7-8E09-46FC2B217DF0}"/>
              </a:ext>
            </a:extLst>
          </p:cNvPr>
          <p:cNvSpPr>
            <a:spLocks noGrp="1"/>
          </p:cNvSpPr>
          <p:nvPr>
            <p:ph type="sldNum" sz="quarter" idx="16"/>
          </p:nvPr>
        </p:nvSpPr>
        <p:spPr/>
        <p:txBody>
          <a:bodyPr/>
          <a:lstStyle/>
          <a:p>
            <a:r>
              <a:rPr lang="en-US" noProof="0"/>
              <a:t>Page </a:t>
            </a:r>
            <a:fld id="{CDF7CB8E-0C0F-4AA4-8EC3-057F9A13ED4A}" type="slidenum">
              <a:rPr lang="en-US" noProof="0" smtClean="0"/>
              <a:pPr/>
              <a:t>5</a:t>
            </a:fld>
            <a:endParaRPr lang="en-US" noProof="0" dirty="0"/>
          </a:p>
        </p:txBody>
      </p:sp>
      <p:sp>
        <p:nvSpPr>
          <p:cNvPr id="6" name="Title 5">
            <a:extLst>
              <a:ext uri="{FF2B5EF4-FFF2-40B4-BE49-F238E27FC236}">
                <a16:creationId xmlns:a16="http://schemas.microsoft.com/office/drawing/2014/main" id="{AD9FCCD1-A6DF-428D-AC12-2247E5A5D442}"/>
              </a:ext>
            </a:extLst>
          </p:cNvPr>
          <p:cNvSpPr>
            <a:spLocks noGrp="1"/>
          </p:cNvSpPr>
          <p:nvPr>
            <p:ph type="title"/>
          </p:nvPr>
        </p:nvSpPr>
        <p:spPr/>
        <p:txBody>
          <a:bodyPr/>
          <a:lstStyle/>
          <a:p>
            <a:r>
              <a:rPr lang="en-US" altLang="zh-CN" dirty="0">
                <a:solidFill>
                  <a:srgbClr val="004388"/>
                </a:solidFill>
              </a:rPr>
              <a:t>Agenda</a:t>
            </a:r>
            <a:br>
              <a:rPr lang="en-US" altLang="zh-CN" dirty="0">
                <a:solidFill>
                  <a:srgbClr val="004388"/>
                </a:solidFill>
              </a:rPr>
            </a:br>
            <a:r>
              <a:rPr lang="en-US" altLang="zh-CN" dirty="0">
                <a:solidFill>
                  <a:srgbClr val="004388"/>
                </a:solidFill>
              </a:rPr>
              <a:t>“Status of the Asian Apparel Industry After The Pandemic”</a:t>
            </a:r>
            <a:endParaRPr lang="zh-CN" altLang="en-US" dirty="0">
              <a:solidFill>
                <a:srgbClr val="004388"/>
              </a:solidFill>
            </a:endParaRPr>
          </a:p>
        </p:txBody>
      </p:sp>
      <p:sp>
        <p:nvSpPr>
          <p:cNvPr id="7" name="Textplatzhalter 1">
            <a:extLst>
              <a:ext uri="{FF2B5EF4-FFF2-40B4-BE49-F238E27FC236}">
                <a16:creationId xmlns:a16="http://schemas.microsoft.com/office/drawing/2014/main" id="{903D0605-9D60-4B96-9B62-1484038C206C}"/>
              </a:ext>
            </a:extLst>
          </p:cNvPr>
          <p:cNvSpPr txBox="1">
            <a:spLocks/>
          </p:cNvSpPr>
          <p:nvPr>
            <p:custDataLst>
              <p:tags r:id="rId1"/>
            </p:custDataLst>
          </p:nvPr>
        </p:nvSpPr>
        <p:spPr bwMode="gray">
          <a:xfrm>
            <a:off x="480963" y="2335687"/>
            <a:ext cx="2447975" cy="3456307"/>
          </a:xfrm>
          <a:prstGeom prst="rect">
            <a:avLst/>
          </a:prstGeom>
        </p:spPr>
        <p:txBody>
          <a:bodyPr vert="horz" lIns="0" tIns="0" rIns="0" bIns="0" rtlCol="0">
            <a:noAutofit/>
          </a:bodyPr>
          <a:lstStyle>
            <a:defPPr>
              <a:defRPr lang="de-DE"/>
            </a:defPPr>
            <a:lvl1pPr lvl="0" indent="0" defTabSz="1219444">
              <a:lnSpc>
                <a:spcPct val="120000"/>
              </a:lnSpc>
              <a:spcBef>
                <a:spcPts val="600"/>
              </a:spcBef>
              <a:buClr>
                <a:schemeClr val="accent1"/>
              </a:buClr>
              <a:buSzPct val="100000"/>
              <a:buFont typeface="Wingdings 2" panose="05020102010507070707" pitchFamily="18" charset="2"/>
              <a:buNone/>
              <a:defRPr sz="1600" b="1">
                <a:solidFill>
                  <a:schemeClr val="accent2"/>
                </a:solidFill>
                <a:cs typeface="Arial" panose="020B0604020202020204" pitchFamily="34" charset="0"/>
              </a:defRPr>
            </a:lvl1pPr>
            <a:lvl2pPr marL="0" lvl="1" indent="0" defTabSz="1219444">
              <a:lnSpc>
                <a:spcPct val="120000"/>
              </a:lnSpc>
              <a:spcBef>
                <a:spcPts val="600"/>
              </a:spcBef>
              <a:buClr>
                <a:schemeClr val="accent1"/>
              </a:buClr>
              <a:buFont typeface="Arial" panose="020B0604020202020204" pitchFamily="34" charset="0"/>
              <a:buNone/>
              <a:defRPr sz="1400">
                <a:solidFill>
                  <a:srgbClr val="000000"/>
                </a:solidFill>
                <a:cs typeface="Arial" panose="020B0604020202020204" pitchFamily="34" charset="0"/>
              </a:defRPr>
            </a:lvl2pPr>
            <a:lvl3pPr marL="216000" lvl="2" indent="-216000" defTabSz="1219444">
              <a:lnSpc>
                <a:spcPct val="120000"/>
              </a:lnSpc>
              <a:spcBef>
                <a:spcPts val="600"/>
              </a:spcBef>
              <a:buClr>
                <a:schemeClr val="accent1"/>
              </a:buClr>
              <a:buSzPct val="100000"/>
              <a:buFont typeface="Wingdings 2" panose="05020102010507070707" pitchFamily="18" charset="2"/>
              <a:buChar char=""/>
              <a:tabLst/>
              <a:defRPr sz="1400">
                <a:solidFill>
                  <a:srgbClr val="000000"/>
                </a:solidFill>
                <a:cs typeface="Arial" panose="020B0604020202020204" pitchFamily="34" charset="0"/>
              </a:defRPr>
            </a:lvl3pPr>
            <a:lvl4pPr marL="432000" lvl="3" indent="-216000" defTabSz="1219444">
              <a:lnSpc>
                <a:spcPct val="120000"/>
              </a:lnSpc>
              <a:spcBef>
                <a:spcPts val="600"/>
              </a:spcBef>
              <a:buClr>
                <a:schemeClr val="accent1"/>
              </a:buClr>
              <a:buFont typeface="Arial" panose="020B0604020202020204" pitchFamily="34" charset="0"/>
              <a:buChar char="–"/>
              <a:defRPr sz="1400">
                <a:solidFill>
                  <a:srgbClr val="000000"/>
                </a:solidFill>
                <a:cs typeface="Arial" panose="020B0604020202020204" pitchFamily="34" charset="0"/>
              </a:defRPr>
            </a:lvl4pPr>
            <a:lvl5pPr marL="648000" lvl="4" indent="-216000" defTabSz="1219444">
              <a:lnSpc>
                <a:spcPct val="120000"/>
              </a:lnSpc>
              <a:spcBef>
                <a:spcPts val="600"/>
              </a:spcBef>
              <a:buClr>
                <a:schemeClr val="accent1"/>
              </a:buClr>
              <a:buFont typeface="Wingdings 2" panose="05020102010507070707" pitchFamily="18" charset="2"/>
              <a:buChar char=""/>
              <a:defRPr sz="1400">
                <a:solidFill>
                  <a:srgbClr val="000000"/>
                </a:solidFill>
                <a:cs typeface="Arial" panose="020B0604020202020204" pitchFamily="34" charset="0"/>
              </a:defRPr>
            </a:lvl5pPr>
            <a:lvl6pPr marL="864000" lvl="5" indent="-216000" defTabSz="1219444">
              <a:lnSpc>
                <a:spcPct val="120000"/>
              </a:lnSpc>
              <a:spcBef>
                <a:spcPts val="600"/>
              </a:spcBef>
              <a:buClr>
                <a:schemeClr val="accent1"/>
              </a:buClr>
              <a:buFont typeface="Wingdings 2" panose="05020102010507070707" pitchFamily="18" charset="2"/>
              <a:buChar char=""/>
              <a:defRPr sz="1400"/>
            </a:lvl6pPr>
            <a:lvl7pPr marL="864000" lvl="6" indent="-216000" defTabSz="1219444">
              <a:lnSpc>
                <a:spcPct val="120000"/>
              </a:lnSpc>
              <a:spcBef>
                <a:spcPts val="600"/>
              </a:spcBef>
              <a:buClr>
                <a:schemeClr val="accent1"/>
              </a:buClr>
              <a:buFont typeface="Wingdings 2" panose="05020102010507070707" pitchFamily="18" charset="2"/>
              <a:buChar char=""/>
              <a:defRPr sz="1400"/>
            </a:lvl7pPr>
            <a:lvl8pPr marL="864000" lvl="7" indent="-216000" defTabSz="1219444">
              <a:lnSpc>
                <a:spcPct val="120000"/>
              </a:lnSpc>
              <a:spcBef>
                <a:spcPts val="600"/>
              </a:spcBef>
              <a:buClr>
                <a:schemeClr val="accent1"/>
              </a:buClr>
              <a:buFont typeface="Wingdings 2" panose="05020102010507070707" pitchFamily="18" charset="2"/>
              <a:buChar char=""/>
              <a:defRPr sz="1400"/>
            </a:lvl8pPr>
            <a:lvl9pPr marL="864000" lvl="8" indent="-216000" defTabSz="1219444">
              <a:lnSpc>
                <a:spcPct val="120000"/>
              </a:lnSpc>
              <a:spcBef>
                <a:spcPts val="600"/>
              </a:spcBef>
              <a:buClr>
                <a:schemeClr val="accent1"/>
              </a:buClr>
              <a:buFont typeface="Wingdings 2" panose="05020102010507070707" pitchFamily="18" charset="2"/>
              <a:buChar char=""/>
              <a:defRPr sz="1400"/>
            </a:lvl9pPr>
          </a:lstStyle>
          <a:p>
            <a:r>
              <a:rPr lang="en-US" altLang="zh-CN" sz="2000" dirty="0">
                <a:solidFill>
                  <a:schemeClr val="tx1"/>
                </a:solidFill>
              </a:rPr>
              <a:t>Changes in the apparel industry due to COVID</a:t>
            </a:r>
          </a:p>
        </p:txBody>
      </p:sp>
      <p:cxnSp>
        <p:nvCxnSpPr>
          <p:cNvPr id="8" name="Gerader Verbinder 18">
            <a:extLst>
              <a:ext uri="{FF2B5EF4-FFF2-40B4-BE49-F238E27FC236}">
                <a16:creationId xmlns:a16="http://schemas.microsoft.com/office/drawing/2014/main" id="{83F0A595-B7A3-4BB4-99CF-C84CAB8F2DCF}"/>
              </a:ext>
            </a:extLst>
          </p:cNvPr>
          <p:cNvCxnSpPr>
            <a:cxnSpLocks/>
          </p:cNvCxnSpPr>
          <p:nvPr/>
        </p:nvCxnSpPr>
        <p:spPr bwMode="gray">
          <a:xfrm>
            <a:off x="480963" y="2227598"/>
            <a:ext cx="648000" cy="0"/>
          </a:xfrm>
          <a:prstGeom prst="line">
            <a:avLst/>
          </a:prstGeom>
          <a:ln w="38100" cap="flat">
            <a:gradFill flip="none" rotWithShape="1">
              <a:gsLst>
                <a:gs pos="35000">
                  <a:schemeClr val="accent2">
                    <a:alpha val="50000"/>
                  </a:schemeClr>
                </a:gs>
                <a:gs pos="0">
                  <a:schemeClr val="accent2"/>
                </a:gs>
                <a:gs pos="95000">
                  <a:schemeClr val="accent2">
                    <a:alpha val="0"/>
                  </a:schemeClr>
                </a:gs>
              </a:gsLst>
              <a:lin ang="0" scaled="1"/>
              <a:tileRect/>
            </a:gradFill>
            <a:round/>
          </a:ln>
        </p:spPr>
        <p:style>
          <a:lnRef idx="1">
            <a:schemeClr val="accent1"/>
          </a:lnRef>
          <a:fillRef idx="0">
            <a:schemeClr val="accent1"/>
          </a:fillRef>
          <a:effectRef idx="0">
            <a:schemeClr val="accent1"/>
          </a:effectRef>
          <a:fontRef idx="minor">
            <a:schemeClr val="tx1"/>
          </a:fontRef>
        </p:style>
      </p:cxnSp>
      <p:sp>
        <p:nvSpPr>
          <p:cNvPr id="9" name="Textplatzhalter 1">
            <a:extLst>
              <a:ext uri="{FF2B5EF4-FFF2-40B4-BE49-F238E27FC236}">
                <a16:creationId xmlns:a16="http://schemas.microsoft.com/office/drawing/2014/main" id="{27C633FC-10FA-402D-A1B8-A718214BB171}"/>
              </a:ext>
            </a:extLst>
          </p:cNvPr>
          <p:cNvSpPr txBox="1">
            <a:spLocks/>
          </p:cNvSpPr>
          <p:nvPr>
            <p:custDataLst>
              <p:tags r:id="rId2"/>
            </p:custDataLst>
          </p:nvPr>
        </p:nvSpPr>
        <p:spPr bwMode="gray">
          <a:xfrm>
            <a:off x="3433291" y="2335609"/>
            <a:ext cx="2447975" cy="3456307"/>
          </a:xfrm>
          <a:prstGeom prst="rect">
            <a:avLst/>
          </a:prstGeom>
        </p:spPr>
        <p:txBody>
          <a:bodyPr vert="horz" lIns="0" tIns="0" rIns="0" bIns="0" rtlCol="0">
            <a:noAutofit/>
          </a:bodyPr>
          <a:lstStyle>
            <a:defPPr>
              <a:defRPr lang="de-DE"/>
            </a:defPPr>
            <a:lvl1pPr lvl="0" indent="0" defTabSz="1219444">
              <a:lnSpc>
                <a:spcPct val="120000"/>
              </a:lnSpc>
              <a:spcBef>
                <a:spcPts val="600"/>
              </a:spcBef>
              <a:buClr>
                <a:schemeClr val="accent1"/>
              </a:buClr>
              <a:buSzPct val="100000"/>
              <a:buFont typeface="Wingdings 2" panose="05020102010507070707" pitchFamily="18" charset="2"/>
              <a:buNone/>
              <a:defRPr sz="1600" b="1">
                <a:solidFill>
                  <a:schemeClr val="accent2"/>
                </a:solidFill>
                <a:cs typeface="Arial" panose="020B0604020202020204" pitchFamily="34" charset="0"/>
              </a:defRPr>
            </a:lvl1pPr>
            <a:lvl2pPr marL="0" lvl="1" indent="0" defTabSz="1219444">
              <a:lnSpc>
                <a:spcPct val="120000"/>
              </a:lnSpc>
              <a:spcBef>
                <a:spcPts val="600"/>
              </a:spcBef>
              <a:buClr>
                <a:schemeClr val="accent1"/>
              </a:buClr>
              <a:buFont typeface="Arial" panose="020B0604020202020204" pitchFamily="34" charset="0"/>
              <a:buNone/>
              <a:defRPr sz="1400">
                <a:solidFill>
                  <a:srgbClr val="000000"/>
                </a:solidFill>
                <a:cs typeface="Arial" panose="020B0604020202020204" pitchFamily="34" charset="0"/>
              </a:defRPr>
            </a:lvl2pPr>
            <a:lvl3pPr marL="216000" lvl="2" indent="-216000" defTabSz="1219444">
              <a:lnSpc>
                <a:spcPct val="120000"/>
              </a:lnSpc>
              <a:spcBef>
                <a:spcPts val="600"/>
              </a:spcBef>
              <a:buClr>
                <a:schemeClr val="accent1"/>
              </a:buClr>
              <a:buSzPct val="100000"/>
              <a:buFont typeface="Wingdings 2" panose="05020102010507070707" pitchFamily="18" charset="2"/>
              <a:buChar char=""/>
              <a:tabLst/>
              <a:defRPr sz="1400">
                <a:solidFill>
                  <a:srgbClr val="000000"/>
                </a:solidFill>
                <a:cs typeface="Arial" panose="020B0604020202020204" pitchFamily="34" charset="0"/>
              </a:defRPr>
            </a:lvl3pPr>
            <a:lvl4pPr marL="432000" lvl="3" indent="-216000" defTabSz="1219444">
              <a:lnSpc>
                <a:spcPct val="120000"/>
              </a:lnSpc>
              <a:spcBef>
                <a:spcPts val="600"/>
              </a:spcBef>
              <a:buClr>
                <a:schemeClr val="accent1"/>
              </a:buClr>
              <a:buFont typeface="Arial" panose="020B0604020202020204" pitchFamily="34" charset="0"/>
              <a:buChar char="–"/>
              <a:defRPr sz="1400">
                <a:solidFill>
                  <a:srgbClr val="000000"/>
                </a:solidFill>
                <a:cs typeface="Arial" panose="020B0604020202020204" pitchFamily="34" charset="0"/>
              </a:defRPr>
            </a:lvl4pPr>
            <a:lvl5pPr marL="648000" lvl="4" indent="-216000" defTabSz="1219444">
              <a:lnSpc>
                <a:spcPct val="120000"/>
              </a:lnSpc>
              <a:spcBef>
                <a:spcPts val="600"/>
              </a:spcBef>
              <a:buClr>
                <a:schemeClr val="accent1"/>
              </a:buClr>
              <a:buFont typeface="Wingdings 2" panose="05020102010507070707" pitchFamily="18" charset="2"/>
              <a:buChar char=""/>
              <a:defRPr sz="1400">
                <a:solidFill>
                  <a:srgbClr val="000000"/>
                </a:solidFill>
                <a:cs typeface="Arial" panose="020B0604020202020204" pitchFamily="34" charset="0"/>
              </a:defRPr>
            </a:lvl5pPr>
            <a:lvl6pPr marL="864000" lvl="5" indent="-216000" defTabSz="1219444">
              <a:lnSpc>
                <a:spcPct val="120000"/>
              </a:lnSpc>
              <a:spcBef>
                <a:spcPts val="600"/>
              </a:spcBef>
              <a:buClr>
                <a:schemeClr val="accent1"/>
              </a:buClr>
              <a:buFont typeface="Wingdings 2" panose="05020102010507070707" pitchFamily="18" charset="2"/>
              <a:buChar char=""/>
              <a:defRPr sz="1400"/>
            </a:lvl6pPr>
            <a:lvl7pPr marL="864000" lvl="6" indent="-216000" defTabSz="1219444">
              <a:lnSpc>
                <a:spcPct val="120000"/>
              </a:lnSpc>
              <a:spcBef>
                <a:spcPts val="600"/>
              </a:spcBef>
              <a:buClr>
                <a:schemeClr val="accent1"/>
              </a:buClr>
              <a:buFont typeface="Wingdings 2" panose="05020102010507070707" pitchFamily="18" charset="2"/>
              <a:buChar char=""/>
              <a:defRPr sz="1400"/>
            </a:lvl7pPr>
            <a:lvl8pPr marL="864000" lvl="7" indent="-216000" defTabSz="1219444">
              <a:lnSpc>
                <a:spcPct val="120000"/>
              </a:lnSpc>
              <a:spcBef>
                <a:spcPts val="600"/>
              </a:spcBef>
              <a:buClr>
                <a:schemeClr val="accent1"/>
              </a:buClr>
              <a:buFont typeface="Wingdings 2" panose="05020102010507070707" pitchFamily="18" charset="2"/>
              <a:buChar char=""/>
              <a:defRPr sz="1400"/>
            </a:lvl8pPr>
            <a:lvl9pPr marL="864000" lvl="8" indent="-216000" defTabSz="1219444">
              <a:lnSpc>
                <a:spcPct val="120000"/>
              </a:lnSpc>
              <a:spcBef>
                <a:spcPts val="600"/>
              </a:spcBef>
              <a:buClr>
                <a:schemeClr val="accent1"/>
              </a:buClr>
              <a:buFont typeface="Wingdings 2" panose="05020102010507070707" pitchFamily="18" charset="2"/>
              <a:buChar char=""/>
              <a:defRPr sz="1400"/>
            </a:lvl9pPr>
          </a:lstStyle>
          <a:p>
            <a:r>
              <a:rPr lang="en-US" altLang="zh-CN" sz="2000" dirty="0">
                <a:solidFill>
                  <a:schemeClr val="tx1"/>
                </a:solidFill>
              </a:rPr>
              <a:t>Exodus out of China by Western brands??</a:t>
            </a:r>
            <a:endParaRPr lang="en-US" sz="2000" dirty="0">
              <a:solidFill>
                <a:schemeClr val="tx1"/>
              </a:solidFill>
            </a:endParaRPr>
          </a:p>
        </p:txBody>
      </p:sp>
      <p:cxnSp>
        <p:nvCxnSpPr>
          <p:cNvPr id="10" name="Gerader Verbinder 20">
            <a:extLst>
              <a:ext uri="{FF2B5EF4-FFF2-40B4-BE49-F238E27FC236}">
                <a16:creationId xmlns:a16="http://schemas.microsoft.com/office/drawing/2014/main" id="{3AA4C1F3-2293-425B-9F1E-9E7C9C672619}"/>
              </a:ext>
            </a:extLst>
          </p:cNvPr>
          <p:cNvCxnSpPr>
            <a:cxnSpLocks/>
          </p:cNvCxnSpPr>
          <p:nvPr/>
        </p:nvCxnSpPr>
        <p:spPr bwMode="gray">
          <a:xfrm>
            <a:off x="3433291" y="2227598"/>
            <a:ext cx="648000" cy="0"/>
          </a:xfrm>
          <a:prstGeom prst="line">
            <a:avLst/>
          </a:prstGeom>
          <a:ln w="38100" cap="flat">
            <a:gradFill flip="none" rotWithShape="1">
              <a:gsLst>
                <a:gs pos="35000">
                  <a:schemeClr val="accent2">
                    <a:alpha val="50000"/>
                  </a:schemeClr>
                </a:gs>
                <a:gs pos="0">
                  <a:schemeClr val="accent2"/>
                </a:gs>
                <a:gs pos="95000">
                  <a:schemeClr val="accent2">
                    <a:alpha val="0"/>
                  </a:schemeClr>
                </a:gs>
              </a:gsLst>
              <a:lin ang="0" scaled="1"/>
              <a:tileRect/>
            </a:gradFill>
            <a:round/>
          </a:ln>
        </p:spPr>
        <p:style>
          <a:lnRef idx="1">
            <a:schemeClr val="accent1"/>
          </a:lnRef>
          <a:fillRef idx="0">
            <a:schemeClr val="accent1"/>
          </a:fillRef>
          <a:effectRef idx="0">
            <a:schemeClr val="accent1"/>
          </a:effectRef>
          <a:fontRef idx="minor">
            <a:schemeClr val="tx1"/>
          </a:fontRef>
        </p:style>
      </p:cxnSp>
      <p:sp>
        <p:nvSpPr>
          <p:cNvPr id="11" name="Textplatzhalter 1">
            <a:extLst>
              <a:ext uri="{FF2B5EF4-FFF2-40B4-BE49-F238E27FC236}">
                <a16:creationId xmlns:a16="http://schemas.microsoft.com/office/drawing/2014/main" id="{B1432EC9-17EC-4C23-8E57-CAA4C9DF28A6}"/>
              </a:ext>
            </a:extLst>
          </p:cNvPr>
          <p:cNvSpPr txBox="1">
            <a:spLocks/>
          </p:cNvSpPr>
          <p:nvPr>
            <p:custDataLst>
              <p:tags r:id="rId3"/>
            </p:custDataLst>
          </p:nvPr>
        </p:nvSpPr>
        <p:spPr bwMode="gray">
          <a:xfrm>
            <a:off x="6313611" y="2335609"/>
            <a:ext cx="2447975" cy="3456307"/>
          </a:xfrm>
          <a:prstGeom prst="rect">
            <a:avLst/>
          </a:prstGeom>
        </p:spPr>
        <p:txBody>
          <a:bodyPr vert="horz" lIns="0" tIns="0" rIns="0" bIns="0" rtlCol="0">
            <a:noAutofit/>
          </a:bodyPr>
          <a:lstStyle>
            <a:defPPr>
              <a:defRPr lang="de-DE"/>
            </a:defPPr>
            <a:lvl1pPr lvl="0" indent="0" defTabSz="1219444">
              <a:lnSpc>
                <a:spcPct val="120000"/>
              </a:lnSpc>
              <a:spcBef>
                <a:spcPts val="600"/>
              </a:spcBef>
              <a:buClr>
                <a:schemeClr val="accent1"/>
              </a:buClr>
              <a:buSzPct val="100000"/>
              <a:buFont typeface="Wingdings 2" panose="05020102010507070707" pitchFamily="18" charset="2"/>
              <a:buNone/>
              <a:defRPr sz="1600" b="1">
                <a:solidFill>
                  <a:schemeClr val="accent2"/>
                </a:solidFill>
                <a:cs typeface="Arial" panose="020B0604020202020204" pitchFamily="34" charset="0"/>
              </a:defRPr>
            </a:lvl1pPr>
            <a:lvl2pPr marL="0" lvl="1" indent="0" defTabSz="1219444">
              <a:lnSpc>
                <a:spcPct val="120000"/>
              </a:lnSpc>
              <a:spcBef>
                <a:spcPts val="600"/>
              </a:spcBef>
              <a:buClr>
                <a:schemeClr val="accent1"/>
              </a:buClr>
              <a:buFont typeface="Arial" panose="020B0604020202020204" pitchFamily="34" charset="0"/>
              <a:buNone/>
              <a:defRPr sz="1400">
                <a:solidFill>
                  <a:srgbClr val="000000"/>
                </a:solidFill>
                <a:cs typeface="Arial" panose="020B0604020202020204" pitchFamily="34" charset="0"/>
              </a:defRPr>
            </a:lvl2pPr>
            <a:lvl3pPr marL="216000" lvl="2" indent="-216000" defTabSz="1219444">
              <a:lnSpc>
                <a:spcPct val="120000"/>
              </a:lnSpc>
              <a:spcBef>
                <a:spcPts val="600"/>
              </a:spcBef>
              <a:buClr>
                <a:schemeClr val="accent1"/>
              </a:buClr>
              <a:buSzPct val="100000"/>
              <a:buFont typeface="Wingdings 2" panose="05020102010507070707" pitchFamily="18" charset="2"/>
              <a:buChar char=""/>
              <a:tabLst/>
              <a:defRPr sz="1400">
                <a:solidFill>
                  <a:srgbClr val="000000"/>
                </a:solidFill>
                <a:cs typeface="Arial" panose="020B0604020202020204" pitchFamily="34" charset="0"/>
              </a:defRPr>
            </a:lvl3pPr>
            <a:lvl4pPr marL="432000" lvl="3" indent="-216000" defTabSz="1219444">
              <a:lnSpc>
                <a:spcPct val="120000"/>
              </a:lnSpc>
              <a:spcBef>
                <a:spcPts val="600"/>
              </a:spcBef>
              <a:buClr>
                <a:schemeClr val="accent1"/>
              </a:buClr>
              <a:buFont typeface="Arial" panose="020B0604020202020204" pitchFamily="34" charset="0"/>
              <a:buChar char="–"/>
              <a:defRPr sz="1400">
                <a:solidFill>
                  <a:srgbClr val="000000"/>
                </a:solidFill>
                <a:cs typeface="Arial" panose="020B0604020202020204" pitchFamily="34" charset="0"/>
              </a:defRPr>
            </a:lvl4pPr>
            <a:lvl5pPr marL="648000" lvl="4" indent="-216000" defTabSz="1219444">
              <a:lnSpc>
                <a:spcPct val="120000"/>
              </a:lnSpc>
              <a:spcBef>
                <a:spcPts val="600"/>
              </a:spcBef>
              <a:buClr>
                <a:schemeClr val="accent1"/>
              </a:buClr>
              <a:buFont typeface="Wingdings 2" panose="05020102010507070707" pitchFamily="18" charset="2"/>
              <a:buChar char=""/>
              <a:defRPr sz="1400">
                <a:solidFill>
                  <a:srgbClr val="000000"/>
                </a:solidFill>
                <a:cs typeface="Arial" panose="020B0604020202020204" pitchFamily="34" charset="0"/>
              </a:defRPr>
            </a:lvl5pPr>
            <a:lvl6pPr marL="864000" lvl="5" indent="-216000" defTabSz="1219444">
              <a:lnSpc>
                <a:spcPct val="120000"/>
              </a:lnSpc>
              <a:spcBef>
                <a:spcPts val="600"/>
              </a:spcBef>
              <a:buClr>
                <a:schemeClr val="accent1"/>
              </a:buClr>
              <a:buFont typeface="Wingdings 2" panose="05020102010507070707" pitchFamily="18" charset="2"/>
              <a:buChar char=""/>
              <a:defRPr sz="1400"/>
            </a:lvl6pPr>
            <a:lvl7pPr marL="864000" lvl="6" indent="-216000" defTabSz="1219444">
              <a:lnSpc>
                <a:spcPct val="120000"/>
              </a:lnSpc>
              <a:spcBef>
                <a:spcPts val="600"/>
              </a:spcBef>
              <a:buClr>
                <a:schemeClr val="accent1"/>
              </a:buClr>
              <a:buFont typeface="Wingdings 2" panose="05020102010507070707" pitchFamily="18" charset="2"/>
              <a:buChar char=""/>
              <a:defRPr sz="1400"/>
            </a:lvl7pPr>
            <a:lvl8pPr marL="864000" lvl="7" indent="-216000" defTabSz="1219444">
              <a:lnSpc>
                <a:spcPct val="120000"/>
              </a:lnSpc>
              <a:spcBef>
                <a:spcPts val="600"/>
              </a:spcBef>
              <a:buClr>
                <a:schemeClr val="accent1"/>
              </a:buClr>
              <a:buFont typeface="Wingdings 2" panose="05020102010507070707" pitchFamily="18" charset="2"/>
              <a:buChar char=""/>
              <a:defRPr sz="1400"/>
            </a:lvl8pPr>
            <a:lvl9pPr marL="864000" lvl="8" indent="-216000" defTabSz="1219444">
              <a:lnSpc>
                <a:spcPct val="120000"/>
              </a:lnSpc>
              <a:spcBef>
                <a:spcPts val="600"/>
              </a:spcBef>
              <a:buClr>
                <a:schemeClr val="accent1"/>
              </a:buClr>
              <a:buFont typeface="Wingdings 2" panose="05020102010507070707" pitchFamily="18" charset="2"/>
              <a:buChar char=""/>
              <a:defRPr sz="1400"/>
            </a:lvl9pPr>
          </a:lstStyle>
          <a:p>
            <a:r>
              <a:rPr lang="en-US" altLang="zh-CN" sz="2000" dirty="0">
                <a:solidFill>
                  <a:schemeClr val="tx1"/>
                </a:solidFill>
              </a:rPr>
              <a:t>Rise of the China domestic apparel market</a:t>
            </a:r>
          </a:p>
        </p:txBody>
      </p:sp>
      <p:cxnSp>
        <p:nvCxnSpPr>
          <p:cNvPr id="12" name="Gerader Verbinder 22">
            <a:extLst>
              <a:ext uri="{FF2B5EF4-FFF2-40B4-BE49-F238E27FC236}">
                <a16:creationId xmlns:a16="http://schemas.microsoft.com/office/drawing/2014/main" id="{F5002208-0D8B-44E5-8AED-705FA1929974}"/>
              </a:ext>
            </a:extLst>
          </p:cNvPr>
          <p:cNvCxnSpPr>
            <a:cxnSpLocks/>
          </p:cNvCxnSpPr>
          <p:nvPr/>
        </p:nvCxnSpPr>
        <p:spPr bwMode="gray">
          <a:xfrm>
            <a:off x="6313611" y="2227598"/>
            <a:ext cx="648000" cy="0"/>
          </a:xfrm>
          <a:prstGeom prst="line">
            <a:avLst/>
          </a:prstGeom>
          <a:ln w="38100" cap="flat">
            <a:gradFill flip="none" rotWithShape="1">
              <a:gsLst>
                <a:gs pos="35000">
                  <a:schemeClr val="accent2">
                    <a:alpha val="50000"/>
                  </a:schemeClr>
                </a:gs>
                <a:gs pos="0">
                  <a:schemeClr val="accent2"/>
                </a:gs>
                <a:gs pos="95000">
                  <a:schemeClr val="accent2">
                    <a:alpha val="0"/>
                  </a:schemeClr>
                </a:gs>
              </a:gsLst>
              <a:lin ang="0" scaled="1"/>
              <a:tileRect/>
            </a:gradFill>
            <a:round/>
          </a:ln>
        </p:spPr>
        <p:style>
          <a:lnRef idx="1">
            <a:schemeClr val="accent1"/>
          </a:lnRef>
          <a:fillRef idx="0">
            <a:schemeClr val="accent1"/>
          </a:fillRef>
          <a:effectRef idx="0">
            <a:schemeClr val="accent1"/>
          </a:effectRef>
          <a:fontRef idx="minor">
            <a:schemeClr val="tx1"/>
          </a:fontRef>
        </p:style>
      </p:cxnSp>
      <p:sp>
        <p:nvSpPr>
          <p:cNvPr id="13" name="Textplatzhalter 1">
            <a:extLst>
              <a:ext uri="{FF2B5EF4-FFF2-40B4-BE49-F238E27FC236}">
                <a16:creationId xmlns:a16="http://schemas.microsoft.com/office/drawing/2014/main" id="{FF7CB804-2F2B-4891-94E9-ACB039F786F5}"/>
              </a:ext>
            </a:extLst>
          </p:cNvPr>
          <p:cNvSpPr txBox="1">
            <a:spLocks/>
          </p:cNvSpPr>
          <p:nvPr>
            <p:custDataLst>
              <p:tags r:id="rId4"/>
            </p:custDataLst>
          </p:nvPr>
        </p:nvSpPr>
        <p:spPr bwMode="gray">
          <a:xfrm>
            <a:off x="9265939" y="2335609"/>
            <a:ext cx="2447975" cy="3456307"/>
          </a:xfrm>
          <a:prstGeom prst="rect">
            <a:avLst/>
          </a:prstGeom>
        </p:spPr>
        <p:txBody>
          <a:bodyPr vert="horz" lIns="0" tIns="0" rIns="0" bIns="0" rtlCol="0">
            <a:noAutofit/>
          </a:bodyPr>
          <a:lstStyle>
            <a:defPPr>
              <a:defRPr lang="de-DE"/>
            </a:defPPr>
            <a:lvl1pPr lvl="0" indent="0" defTabSz="1219444">
              <a:lnSpc>
                <a:spcPct val="120000"/>
              </a:lnSpc>
              <a:spcBef>
                <a:spcPts val="600"/>
              </a:spcBef>
              <a:buClr>
                <a:schemeClr val="accent1"/>
              </a:buClr>
              <a:buSzPct val="100000"/>
              <a:buFont typeface="Wingdings 2" panose="05020102010507070707" pitchFamily="18" charset="2"/>
              <a:buNone/>
              <a:defRPr sz="1600" b="1">
                <a:solidFill>
                  <a:schemeClr val="accent2"/>
                </a:solidFill>
                <a:cs typeface="Arial" panose="020B0604020202020204" pitchFamily="34" charset="0"/>
              </a:defRPr>
            </a:lvl1pPr>
            <a:lvl2pPr marL="0" lvl="1" indent="0" defTabSz="1219444">
              <a:lnSpc>
                <a:spcPct val="120000"/>
              </a:lnSpc>
              <a:spcBef>
                <a:spcPts val="600"/>
              </a:spcBef>
              <a:buClr>
                <a:schemeClr val="accent1"/>
              </a:buClr>
              <a:buFont typeface="Arial" panose="020B0604020202020204" pitchFamily="34" charset="0"/>
              <a:buNone/>
              <a:defRPr sz="1400">
                <a:solidFill>
                  <a:srgbClr val="000000"/>
                </a:solidFill>
                <a:cs typeface="Arial" panose="020B0604020202020204" pitchFamily="34" charset="0"/>
              </a:defRPr>
            </a:lvl2pPr>
            <a:lvl3pPr marL="216000" lvl="2" indent="-216000" defTabSz="1219444">
              <a:lnSpc>
                <a:spcPct val="120000"/>
              </a:lnSpc>
              <a:spcBef>
                <a:spcPts val="600"/>
              </a:spcBef>
              <a:buClr>
                <a:schemeClr val="accent1"/>
              </a:buClr>
              <a:buSzPct val="100000"/>
              <a:buFont typeface="Wingdings 2" panose="05020102010507070707" pitchFamily="18" charset="2"/>
              <a:buChar char=""/>
              <a:tabLst/>
              <a:defRPr sz="1400">
                <a:solidFill>
                  <a:srgbClr val="000000"/>
                </a:solidFill>
                <a:cs typeface="Arial" panose="020B0604020202020204" pitchFamily="34" charset="0"/>
              </a:defRPr>
            </a:lvl3pPr>
            <a:lvl4pPr marL="432000" lvl="3" indent="-216000" defTabSz="1219444">
              <a:lnSpc>
                <a:spcPct val="120000"/>
              </a:lnSpc>
              <a:spcBef>
                <a:spcPts val="600"/>
              </a:spcBef>
              <a:buClr>
                <a:schemeClr val="accent1"/>
              </a:buClr>
              <a:buFont typeface="Arial" panose="020B0604020202020204" pitchFamily="34" charset="0"/>
              <a:buChar char="–"/>
              <a:defRPr sz="1400">
                <a:solidFill>
                  <a:srgbClr val="000000"/>
                </a:solidFill>
                <a:cs typeface="Arial" panose="020B0604020202020204" pitchFamily="34" charset="0"/>
              </a:defRPr>
            </a:lvl4pPr>
            <a:lvl5pPr marL="648000" lvl="4" indent="-216000" defTabSz="1219444">
              <a:lnSpc>
                <a:spcPct val="120000"/>
              </a:lnSpc>
              <a:spcBef>
                <a:spcPts val="600"/>
              </a:spcBef>
              <a:buClr>
                <a:schemeClr val="accent1"/>
              </a:buClr>
              <a:buFont typeface="Wingdings 2" panose="05020102010507070707" pitchFamily="18" charset="2"/>
              <a:buChar char=""/>
              <a:defRPr sz="1400">
                <a:solidFill>
                  <a:srgbClr val="000000"/>
                </a:solidFill>
                <a:cs typeface="Arial" panose="020B0604020202020204" pitchFamily="34" charset="0"/>
              </a:defRPr>
            </a:lvl5pPr>
            <a:lvl6pPr marL="864000" lvl="5" indent="-216000" defTabSz="1219444">
              <a:lnSpc>
                <a:spcPct val="120000"/>
              </a:lnSpc>
              <a:spcBef>
                <a:spcPts val="600"/>
              </a:spcBef>
              <a:buClr>
                <a:schemeClr val="accent1"/>
              </a:buClr>
              <a:buFont typeface="Wingdings 2" panose="05020102010507070707" pitchFamily="18" charset="2"/>
              <a:buChar char=""/>
              <a:defRPr sz="1400"/>
            </a:lvl6pPr>
            <a:lvl7pPr marL="864000" lvl="6" indent="-216000" defTabSz="1219444">
              <a:lnSpc>
                <a:spcPct val="120000"/>
              </a:lnSpc>
              <a:spcBef>
                <a:spcPts val="600"/>
              </a:spcBef>
              <a:buClr>
                <a:schemeClr val="accent1"/>
              </a:buClr>
              <a:buFont typeface="Wingdings 2" panose="05020102010507070707" pitchFamily="18" charset="2"/>
              <a:buChar char=""/>
              <a:defRPr sz="1400"/>
            </a:lvl7pPr>
            <a:lvl8pPr marL="864000" lvl="7" indent="-216000" defTabSz="1219444">
              <a:lnSpc>
                <a:spcPct val="120000"/>
              </a:lnSpc>
              <a:spcBef>
                <a:spcPts val="600"/>
              </a:spcBef>
              <a:buClr>
                <a:schemeClr val="accent1"/>
              </a:buClr>
              <a:buFont typeface="Wingdings 2" panose="05020102010507070707" pitchFamily="18" charset="2"/>
              <a:buChar char=""/>
              <a:defRPr sz="1400"/>
            </a:lvl8pPr>
            <a:lvl9pPr marL="864000" lvl="8" indent="-216000" defTabSz="1219444">
              <a:lnSpc>
                <a:spcPct val="120000"/>
              </a:lnSpc>
              <a:spcBef>
                <a:spcPts val="600"/>
              </a:spcBef>
              <a:buClr>
                <a:schemeClr val="accent1"/>
              </a:buClr>
              <a:buFont typeface="Wingdings 2" panose="05020102010507070707" pitchFamily="18" charset="2"/>
              <a:buChar char=""/>
              <a:defRPr sz="1400"/>
            </a:lvl9pPr>
          </a:lstStyle>
          <a:p>
            <a:r>
              <a:rPr lang="en-US" altLang="zh-CN" sz="2000" dirty="0">
                <a:solidFill>
                  <a:schemeClr val="tx1"/>
                </a:solidFill>
              </a:rPr>
              <a:t>Future of nonwovens in Apparel</a:t>
            </a:r>
          </a:p>
        </p:txBody>
      </p:sp>
      <p:cxnSp>
        <p:nvCxnSpPr>
          <p:cNvPr id="14" name="Gerader Verbinder 24">
            <a:extLst>
              <a:ext uri="{FF2B5EF4-FFF2-40B4-BE49-F238E27FC236}">
                <a16:creationId xmlns:a16="http://schemas.microsoft.com/office/drawing/2014/main" id="{6649521C-2D73-414F-A42A-A0EF0BB5283D}"/>
              </a:ext>
            </a:extLst>
          </p:cNvPr>
          <p:cNvCxnSpPr>
            <a:cxnSpLocks/>
          </p:cNvCxnSpPr>
          <p:nvPr/>
        </p:nvCxnSpPr>
        <p:spPr bwMode="gray">
          <a:xfrm>
            <a:off x="9265939" y="2227598"/>
            <a:ext cx="648000" cy="0"/>
          </a:xfrm>
          <a:prstGeom prst="line">
            <a:avLst/>
          </a:prstGeom>
          <a:ln w="38100" cap="flat">
            <a:gradFill flip="none" rotWithShape="1">
              <a:gsLst>
                <a:gs pos="35000">
                  <a:schemeClr val="accent2">
                    <a:alpha val="50000"/>
                  </a:schemeClr>
                </a:gs>
                <a:gs pos="0">
                  <a:schemeClr val="accent2"/>
                </a:gs>
                <a:gs pos="95000">
                  <a:schemeClr val="accent2">
                    <a:alpha val="0"/>
                  </a:schemeClr>
                </a:gs>
              </a:gsLst>
              <a:lin ang="0" scaled="1"/>
              <a:tileRect/>
            </a:gra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90005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9" grpId="0"/>
      <p:bldP spid="11" grpId="0"/>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7165DD97-1A6A-440B-B044-3420B9B9DA58}"/>
              </a:ext>
            </a:extLst>
          </p:cNvPr>
          <p:cNvSpPr>
            <a:spLocks noGrp="1"/>
          </p:cNvSpPr>
          <p:nvPr>
            <p:ph type="sldNum" sz="quarter" idx="16"/>
          </p:nvPr>
        </p:nvSpPr>
        <p:spPr/>
        <p:txBody>
          <a:bodyPr/>
          <a:lstStyle/>
          <a:p>
            <a:r>
              <a:rPr lang="en-US" noProof="0"/>
              <a:t>Page </a:t>
            </a:r>
            <a:fld id="{CDF7CB8E-0C0F-4AA4-8EC3-057F9A13ED4A}" type="slidenum">
              <a:rPr lang="en-US" noProof="0" smtClean="0"/>
              <a:pPr/>
              <a:t>6</a:t>
            </a:fld>
            <a:endParaRPr lang="en-US" noProof="0" dirty="0"/>
          </a:p>
        </p:txBody>
      </p:sp>
      <p:sp>
        <p:nvSpPr>
          <p:cNvPr id="6" name="Title 5">
            <a:extLst>
              <a:ext uri="{FF2B5EF4-FFF2-40B4-BE49-F238E27FC236}">
                <a16:creationId xmlns:a16="http://schemas.microsoft.com/office/drawing/2014/main" id="{34D06AA2-4173-4824-8155-A394859FAAC0}"/>
              </a:ext>
            </a:extLst>
          </p:cNvPr>
          <p:cNvSpPr>
            <a:spLocks noGrp="1"/>
          </p:cNvSpPr>
          <p:nvPr>
            <p:ph type="title"/>
          </p:nvPr>
        </p:nvSpPr>
        <p:spPr/>
        <p:txBody>
          <a:bodyPr/>
          <a:lstStyle/>
          <a:p>
            <a:r>
              <a:rPr lang="en-US" altLang="zh-CN" dirty="0">
                <a:solidFill>
                  <a:srgbClr val="004388"/>
                </a:solidFill>
              </a:rPr>
              <a:t>Changes in the Apparel Industry due to </a:t>
            </a:r>
            <a:r>
              <a:rPr lang="en-US" altLang="zh-CN" dirty="0" err="1">
                <a:solidFill>
                  <a:srgbClr val="004388"/>
                </a:solidFill>
              </a:rPr>
              <a:t>Covid</a:t>
            </a:r>
            <a:br>
              <a:rPr lang="en-US" altLang="zh-CN" dirty="0">
                <a:solidFill>
                  <a:srgbClr val="004388"/>
                </a:solidFill>
              </a:rPr>
            </a:br>
            <a:r>
              <a:rPr lang="en-US" altLang="zh-CN" i="1" dirty="0">
                <a:solidFill>
                  <a:srgbClr val="004388"/>
                </a:solidFill>
              </a:rPr>
              <a:t>- A MACRO OVERVIEW</a:t>
            </a:r>
            <a:endParaRPr lang="zh-CN" altLang="en-US" i="1" dirty="0">
              <a:solidFill>
                <a:srgbClr val="004388"/>
              </a:solidFill>
            </a:endParaRPr>
          </a:p>
        </p:txBody>
      </p:sp>
      <p:sp>
        <p:nvSpPr>
          <p:cNvPr id="17" name="TextBox 16">
            <a:extLst>
              <a:ext uri="{FF2B5EF4-FFF2-40B4-BE49-F238E27FC236}">
                <a16:creationId xmlns:a16="http://schemas.microsoft.com/office/drawing/2014/main" id="{4976053C-1035-4DF1-8EA8-6766C438123D}"/>
              </a:ext>
            </a:extLst>
          </p:cNvPr>
          <p:cNvSpPr txBox="1"/>
          <p:nvPr/>
        </p:nvSpPr>
        <p:spPr bwMode="gray">
          <a:xfrm>
            <a:off x="353762" y="1364075"/>
            <a:ext cx="11230225" cy="4656519"/>
          </a:xfrm>
          <a:prstGeom prst="rect">
            <a:avLst/>
          </a:prstGeom>
          <a:solidFill>
            <a:schemeClr val="bg1"/>
          </a:solidFill>
          <a:ln w="6350">
            <a:noFill/>
          </a:ln>
        </p:spPr>
        <p:txBody>
          <a:bodyPr vert="horz" wrap="square" lIns="144000" tIns="90000" rIns="144000" bIns="90000" rtlCol="0">
            <a:noAutofit/>
          </a:bodyPr>
          <a:lstStyle/>
          <a:p>
            <a:pPr marL="227013" indent="-227013" algn="l">
              <a:spcBef>
                <a:spcPts val="1200"/>
              </a:spcBef>
              <a:buSzPct val="140000"/>
              <a:buFont typeface="Arial" panose="020B0604020202020204" pitchFamily="34" charset="0"/>
              <a:buChar char="•"/>
            </a:pPr>
            <a:r>
              <a:rPr lang="en-US" sz="1800" dirty="0"/>
              <a:t>The apparel industry has been called the “caravan on the run”, following the trail of lower production prices wherever it goes. High volumes to drive the cost per unit prices has been the accepted norm. FOB garment cost has been a paramount concern. </a:t>
            </a:r>
          </a:p>
          <a:p>
            <a:pPr marL="227013" indent="-227013" algn="l">
              <a:spcBef>
                <a:spcPts val="1200"/>
              </a:spcBef>
              <a:buSzPct val="140000"/>
              <a:buFont typeface="Arial" panose="020B0604020202020204" pitchFamily="34" charset="0"/>
              <a:buChar char="•"/>
            </a:pPr>
            <a:r>
              <a:rPr lang="en-US" sz="1800" dirty="0"/>
              <a:t>Apparel was one of the hardest hit industries during </a:t>
            </a:r>
            <a:r>
              <a:rPr lang="en-US" sz="1800" dirty="0" err="1"/>
              <a:t>Covid</a:t>
            </a:r>
            <a:r>
              <a:rPr lang="en-US" sz="1800" dirty="0"/>
              <a:t>.  Supply chain issues including working capital was a particular pain point.  The damaging experience during </a:t>
            </a:r>
            <a:r>
              <a:rPr lang="en-US" sz="1800" dirty="0" err="1"/>
              <a:t>Covid</a:t>
            </a:r>
            <a:r>
              <a:rPr lang="en-US" sz="1800" dirty="0"/>
              <a:t> especially related to supply chain struggles together with the geopolitical tensions has put emphasis on “risk mitigation”.  Price although still important is not the only driving factor.</a:t>
            </a:r>
          </a:p>
          <a:p>
            <a:pPr marL="227013" indent="-227013" algn="l">
              <a:spcBef>
                <a:spcPts val="1200"/>
              </a:spcBef>
              <a:buSzPct val="140000"/>
              <a:buFont typeface="Arial" panose="020B0604020202020204" pitchFamily="34" charset="0"/>
              <a:buChar char="•"/>
            </a:pPr>
            <a:r>
              <a:rPr lang="en-US" sz="1800" dirty="0"/>
              <a:t>The apparel industry especially in Asia after </a:t>
            </a:r>
            <a:r>
              <a:rPr lang="en-US" sz="1800" dirty="0" err="1"/>
              <a:t>Covid</a:t>
            </a:r>
            <a:r>
              <a:rPr lang="en-US" sz="1800" dirty="0"/>
              <a:t> is much more complex with new challenges, uncertainties and risks. </a:t>
            </a:r>
          </a:p>
          <a:p>
            <a:pPr marL="227013" indent="-227013" algn="l">
              <a:spcBef>
                <a:spcPts val="1200"/>
              </a:spcBef>
              <a:buSzPct val="140000"/>
              <a:buFont typeface="Arial" panose="020B0604020202020204" pitchFamily="34" charset="0"/>
              <a:buChar char="•"/>
            </a:pPr>
            <a:r>
              <a:rPr lang="en-US" sz="1800" dirty="0"/>
              <a:t>But post </a:t>
            </a:r>
            <a:r>
              <a:rPr lang="en-US" sz="1800" dirty="0" err="1"/>
              <a:t>Covid</a:t>
            </a:r>
            <a:r>
              <a:rPr lang="en-US" sz="1800" dirty="0"/>
              <a:t> has also highlighted potential opportunities in the apparel industry. “Sustainability” as a market mega trend has only increased in momentum especially in Europe and the US apparel market giving rise to new innovation opportunities. </a:t>
            </a:r>
          </a:p>
          <a:p>
            <a:pPr marL="227013" indent="-227013" algn="l">
              <a:spcBef>
                <a:spcPts val="1200"/>
              </a:spcBef>
              <a:buSzPct val="140000"/>
              <a:buFont typeface="Arial" panose="020B0604020202020204" pitchFamily="34" charset="0"/>
              <a:buChar char="•"/>
            </a:pPr>
            <a:r>
              <a:rPr lang="en-US" sz="1800" dirty="0"/>
              <a:t>Sustainability as a trend in the Asia apparel market is less visible, but it is only a question of time.</a:t>
            </a:r>
          </a:p>
          <a:p>
            <a:pPr marL="227013" indent="-227013" algn="l">
              <a:buFont typeface="Arial" panose="020B0604020202020204" pitchFamily="34" charset="0"/>
              <a:buChar char="•"/>
            </a:pPr>
            <a:endParaRPr lang="en-US" dirty="0"/>
          </a:p>
        </p:txBody>
      </p:sp>
    </p:spTree>
    <p:extLst>
      <p:ext uri="{BB962C8B-B14F-4D97-AF65-F5344CB8AC3E}">
        <p14:creationId xmlns:p14="http://schemas.microsoft.com/office/powerpoint/2010/main" val="13358880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B13562-05FB-402F-A56C-317994D81EF7}"/>
              </a:ext>
            </a:extLst>
          </p:cNvPr>
          <p:cNvSpPr>
            <a:spLocks noGrp="1"/>
          </p:cNvSpPr>
          <p:nvPr>
            <p:ph type="sldNum" sz="quarter" idx="16"/>
          </p:nvPr>
        </p:nvSpPr>
        <p:spPr/>
        <p:txBody>
          <a:bodyPr/>
          <a:lstStyle/>
          <a:p>
            <a:r>
              <a:rPr lang="en-US" noProof="0"/>
              <a:t>Page </a:t>
            </a:r>
            <a:fld id="{CDF7CB8E-0C0F-4AA4-8EC3-057F9A13ED4A}" type="slidenum">
              <a:rPr lang="en-US" noProof="0" smtClean="0"/>
              <a:pPr/>
              <a:t>7</a:t>
            </a:fld>
            <a:endParaRPr lang="en-US" noProof="0" dirty="0"/>
          </a:p>
        </p:txBody>
      </p:sp>
      <p:sp>
        <p:nvSpPr>
          <p:cNvPr id="6" name="Title 5">
            <a:extLst>
              <a:ext uri="{FF2B5EF4-FFF2-40B4-BE49-F238E27FC236}">
                <a16:creationId xmlns:a16="http://schemas.microsoft.com/office/drawing/2014/main" id="{CE3CF75C-0B7C-4D0E-8355-7570F2E1F623}"/>
              </a:ext>
            </a:extLst>
          </p:cNvPr>
          <p:cNvSpPr>
            <a:spLocks noGrp="1"/>
          </p:cNvSpPr>
          <p:nvPr>
            <p:ph type="title"/>
          </p:nvPr>
        </p:nvSpPr>
        <p:spPr/>
        <p:txBody>
          <a:bodyPr/>
          <a:lstStyle/>
          <a:p>
            <a:r>
              <a:rPr lang="en-US" altLang="zh-CN" dirty="0">
                <a:solidFill>
                  <a:srgbClr val="004388"/>
                </a:solidFill>
              </a:rPr>
              <a:t>“Exodus” out of China by Western Brands??</a:t>
            </a:r>
            <a:endParaRPr lang="zh-CN" altLang="en-US" dirty="0">
              <a:solidFill>
                <a:srgbClr val="004388"/>
              </a:solidFill>
            </a:endParaRPr>
          </a:p>
        </p:txBody>
      </p:sp>
      <p:pic>
        <p:nvPicPr>
          <p:cNvPr id="10" name="Picture 9">
            <a:extLst>
              <a:ext uri="{FF2B5EF4-FFF2-40B4-BE49-F238E27FC236}">
                <a16:creationId xmlns:a16="http://schemas.microsoft.com/office/drawing/2014/main" id="{DD24994B-C403-47D6-9643-FBBCEAADC4C4}"/>
              </a:ext>
            </a:extLst>
          </p:cNvPr>
          <p:cNvPicPr>
            <a:picLocks noChangeAspect="1"/>
          </p:cNvPicPr>
          <p:nvPr/>
        </p:nvPicPr>
        <p:blipFill>
          <a:blip r:embed="rId2"/>
          <a:stretch>
            <a:fillRect/>
          </a:stretch>
        </p:blipFill>
        <p:spPr>
          <a:xfrm>
            <a:off x="480756" y="1115219"/>
            <a:ext cx="4117181" cy="1933575"/>
          </a:xfrm>
          <a:prstGeom prst="rect">
            <a:avLst/>
          </a:prstGeom>
        </p:spPr>
      </p:pic>
      <p:sp>
        <p:nvSpPr>
          <p:cNvPr id="11" name="TextBox 10">
            <a:extLst>
              <a:ext uri="{FF2B5EF4-FFF2-40B4-BE49-F238E27FC236}">
                <a16:creationId xmlns:a16="http://schemas.microsoft.com/office/drawing/2014/main" id="{72ED640A-CDA5-4748-9482-4A48E130B19E}"/>
              </a:ext>
            </a:extLst>
          </p:cNvPr>
          <p:cNvSpPr txBox="1"/>
          <p:nvPr/>
        </p:nvSpPr>
        <p:spPr bwMode="gray">
          <a:xfrm>
            <a:off x="5259305" y="1124884"/>
            <a:ext cx="6454775" cy="1782746"/>
          </a:xfrm>
          <a:prstGeom prst="rect">
            <a:avLst/>
          </a:prstGeom>
          <a:solidFill>
            <a:schemeClr val="bg1"/>
          </a:solidFill>
          <a:ln w="6350">
            <a:noFill/>
          </a:ln>
        </p:spPr>
        <p:txBody>
          <a:bodyPr vert="horz" wrap="square" lIns="144000" tIns="90000" rIns="144000" bIns="90000" rtlCol="0">
            <a:noAutofit/>
          </a:bodyPr>
          <a:lstStyle/>
          <a:p>
            <a:pPr marL="216000" indent="-216000" defTabSz="1219444">
              <a:spcAft>
                <a:spcPts val="100"/>
              </a:spcAft>
              <a:buClr>
                <a:schemeClr val="accent1"/>
              </a:buClr>
              <a:buSzPct val="100000"/>
              <a:buFont typeface="Wingdings 2" panose="05020102010507070707" pitchFamily="18" charset="2"/>
              <a:buChar char=""/>
              <a:tabLst>
                <a:tab pos="1828800" algn="l"/>
              </a:tabLst>
            </a:pPr>
            <a:r>
              <a:rPr lang="en-US" sz="1800" dirty="0">
                <a:cs typeface="Arial" panose="020B0604020202020204" pitchFamily="34" charset="0"/>
              </a:rPr>
              <a:t>61% of US apparel retail CEOs have stopped using China as their primary supplier.  This is up from 30% before </a:t>
            </a:r>
            <a:r>
              <a:rPr lang="en-US" sz="1800" dirty="0" err="1">
                <a:cs typeface="Arial" panose="020B0604020202020204" pitchFamily="34" charset="0"/>
              </a:rPr>
              <a:t>Covid</a:t>
            </a:r>
            <a:r>
              <a:rPr lang="en-US" sz="1800" dirty="0">
                <a:cs typeface="Arial" panose="020B0604020202020204" pitchFamily="34" charset="0"/>
              </a:rPr>
              <a:t>. </a:t>
            </a:r>
          </a:p>
          <a:p>
            <a:pPr marL="216000" indent="-216000" defTabSz="1219444">
              <a:spcAft>
                <a:spcPts val="100"/>
              </a:spcAft>
              <a:buClr>
                <a:schemeClr val="accent1"/>
              </a:buClr>
              <a:buSzPct val="100000"/>
              <a:buFont typeface="Wingdings 2" panose="05020102010507070707" pitchFamily="18" charset="2"/>
              <a:buChar char=""/>
              <a:tabLst>
                <a:tab pos="1828800" algn="l"/>
              </a:tabLst>
            </a:pPr>
            <a:r>
              <a:rPr lang="en-US" sz="1800" dirty="0">
                <a:cs typeface="Arial" panose="020B0604020202020204" pitchFamily="34" charset="0"/>
              </a:rPr>
              <a:t>Almost 80% plan to reduce further their sourcing from China. Vietnam, </a:t>
            </a:r>
            <a:r>
              <a:rPr lang="en-US" sz="1800" dirty="0" err="1">
                <a:cs typeface="Arial" panose="020B0604020202020204" pitchFamily="34" charset="0"/>
              </a:rPr>
              <a:t>B’desh</a:t>
            </a:r>
            <a:r>
              <a:rPr lang="en-US" sz="1800" dirty="0">
                <a:cs typeface="Arial" panose="020B0604020202020204" pitchFamily="34" charset="0"/>
              </a:rPr>
              <a:t> and India are the prime beneficiaries of this shift.</a:t>
            </a:r>
          </a:p>
        </p:txBody>
      </p:sp>
      <p:sp>
        <p:nvSpPr>
          <p:cNvPr id="12" name="TextBox 11">
            <a:extLst>
              <a:ext uri="{FF2B5EF4-FFF2-40B4-BE49-F238E27FC236}">
                <a16:creationId xmlns:a16="http://schemas.microsoft.com/office/drawing/2014/main" id="{3910E5E4-EC5E-4207-B768-08DE96589FBA}"/>
              </a:ext>
            </a:extLst>
          </p:cNvPr>
          <p:cNvSpPr txBox="1"/>
          <p:nvPr/>
        </p:nvSpPr>
        <p:spPr bwMode="gray">
          <a:xfrm>
            <a:off x="350838" y="3330523"/>
            <a:ext cx="11233149" cy="2367165"/>
          </a:xfrm>
          <a:prstGeom prst="rect">
            <a:avLst/>
          </a:prstGeom>
          <a:solidFill>
            <a:schemeClr val="bg1"/>
          </a:solidFill>
          <a:ln w="6350">
            <a:noFill/>
          </a:ln>
        </p:spPr>
        <p:txBody>
          <a:bodyPr vert="horz" wrap="square" lIns="144000" tIns="90000" rIns="144000" bIns="90000" rtlCol="0">
            <a:noAutofit/>
          </a:bodyPr>
          <a:lstStyle/>
          <a:p>
            <a:pPr marL="216000" indent="-216000" defTabSz="1219444">
              <a:buClr>
                <a:schemeClr val="accent1"/>
              </a:buClr>
              <a:buSzPct val="100000"/>
              <a:buFont typeface="Wingdings 2" panose="05020102010507070707" pitchFamily="18" charset="2"/>
              <a:buChar char=""/>
            </a:pPr>
            <a:r>
              <a:rPr lang="en-US" sz="1800" dirty="0">
                <a:cs typeface="Arial" panose="020B0604020202020204" pitchFamily="34" charset="0"/>
              </a:rPr>
              <a:t>Geopolitical tensions, supply chain risk mitigation, UFLPA, tariffs etc.- are pushing Western apparel brands to look outside China to produce their garments.  </a:t>
            </a:r>
          </a:p>
          <a:p>
            <a:pPr marL="216000" indent="-216000" defTabSz="1219444">
              <a:buClr>
                <a:schemeClr val="accent1"/>
              </a:buClr>
              <a:buSzPct val="100000"/>
              <a:buFont typeface="Wingdings 2" panose="05020102010507070707" pitchFamily="18" charset="2"/>
              <a:buChar char=""/>
            </a:pPr>
            <a:endParaRPr lang="en-US" sz="1800" dirty="0">
              <a:cs typeface="Arial" panose="020B0604020202020204" pitchFamily="34" charset="0"/>
            </a:endParaRPr>
          </a:p>
          <a:p>
            <a:pPr marL="216000" indent="-216000" defTabSz="1219444">
              <a:buClr>
                <a:schemeClr val="accent1"/>
              </a:buClr>
              <a:buSzPct val="100000"/>
              <a:buFont typeface="Wingdings 2" panose="05020102010507070707" pitchFamily="18" charset="2"/>
              <a:buChar char=""/>
            </a:pPr>
            <a:r>
              <a:rPr lang="en-US" sz="1800" dirty="0">
                <a:cs typeface="Arial" panose="020B0604020202020204" pitchFamily="34" charset="0"/>
              </a:rPr>
              <a:t>But quitting China is easier said than done… China has some “hard to overcome” inherent advantages such as skilled workforce and supply chain networks.</a:t>
            </a:r>
          </a:p>
          <a:p>
            <a:pPr marL="216000" indent="-216000" defTabSz="1219444">
              <a:buClr>
                <a:schemeClr val="accent1"/>
              </a:buClr>
              <a:buSzPct val="100000"/>
              <a:buFont typeface="Wingdings 2" panose="05020102010507070707" pitchFamily="18" charset="2"/>
              <a:buChar char=""/>
            </a:pPr>
            <a:endParaRPr lang="en-US" sz="1800" dirty="0">
              <a:cs typeface="Arial" panose="020B0604020202020204" pitchFamily="34" charset="0"/>
            </a:endParaRPr>
          </a:p>
          <a:p>
            <a:pPr marL="216000" indent="-216000" defTabSz="1219444">
              <a:buClr>
                <a:schemeClr val="accent1"/>
              </a:buClr>
              <a:buSzPct val="100000"/>
              <a:buFont typeface="Wingdings 2" panose="05020102010507070707" pitchFamily="18" charset="2"/>
              <a:buChar char=""/>
            </a:pPr>
            <a:r>
              <a:rPr lang="en-US" sz="1800" dirty="0">
                <a:cs typeface="Arial" panose="020B0604020202020204" pitchFamily="34" charset="0"/>
              </a:rPr>
              <a:t>China is still the biggest apparel exporter for Western brands by far, although the gap with the other garment export countries are smaller compared to the past.</a:t>
            </a:r>
          </a:p>
        </p:txBody>
      </p:sp>
    </p:spTree>
    <p:extLst>
      <p:ext uri="{BB962C8B-B14F-4D97-AF65-F5344CB8AC3E}">
        <p14:creationId xmlns:p14="http://schemas.microsoft.com/office/powerpoint/2010/main" val="3902263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92F02A-9A96-4741-A543-EA8ABE0BCDCC}"/>
              </a:ext>
            </a:extLst>
          </p:cNvPr>
          <p:cNvSpPr>
            <a:spLocks noGrp="1"/>
          </p:cNvSpPr>
          <p:nvPr>
            <p:ph type="body" sz="quarter" idx="13"/>
          </p:nvPr>
        </p:nvSpPr>
        <p:spPr>
          <a:xfrm>
            <a:off x="481013" y="1341561"/>
            <a:ext cx="7445374" cy="4751263"/>
          </a:xfrm>
        </p:spPr>
        <p:txBody>
          <a:bodyPr/>
          <a:lstStyle/>
          <a:p>
            <a:pPr>
              <a:lnSpc>
                <a:spcPct val="100000"/>
              </a:lnSpc>
              <a:spcAft>
                <a:spcPts val="1200"/>
              </a:spcAft>
            </a:pPr>
            <a:r>
              <a:rPr lang="en-US" altLang="zh-CN" sz="1800" dirty="0"/>
              <a:t>Since its entry into WTO, China has been seen as the “factory” to the world.  This image has been especially strong in the apparel industry.</a:t>
            </a:r>
          </a:p>
          <a:p>
            <a:pPr>
              <a:lnSpc>
                <a:spcPct val="100000"/>
              </a:lnSpc>
              <a:spcAft>
                <a:spcPts val="1200"/>
              </a:spcAft>
            </a:pPr>
            <a:r>
              <a:rPr lang="en-US" altLang="zh-CN" sz="1800" dirty="0"/>
              <a:t>But China is not just a garment production country. China is the 2nd biggest apparel consumption market just behind the US.</a:t>
            </a:r>
          </a:p>
          <a:p>
            <a:pPr>
              <a:lnSpc>
                <a:spcPct val="100000"/>
              </a:lnSpc>
              <a:spcAft>
                <a:spcPts val="1200"/>
              </a:spcAft>
            </a:pPr>
            <a:r>
              <a:rPr lang="en-US" altLang="zh-CN" sz="1800" dirty="0"/>
              <a:t>For the luxury segment and certain global brands like Nike and Uniqlo, the importance of the China apparel market is critical. </a:t>
            </a:r>
          </a:p>
          <a:p>
            <a:pPr>
              <a:lnSpc>
                <a:spcPct val="100000"/>
              </a:lnSpc>
              <a:spcAft>
                <a:spcPts val="1200"/>
              </a:spcAft>
            </a:pPr>
            <a:r>
              <a:rPr lang="en-US" altLang="zh-CN" sz="1800" dirty="0"/>
              <a:t>In this background, what is often overlooked is the rise of the domestic China apparel brands.  They are challenging the Western brands for dominance in the China market and they are not doing it with price alone.  Their goal is to deliver better value to the China consumers by raising their quality level, innovation, design and merchandizing.  And they are targeting expansion outside China into Southeast Asia. </a:t>
            </a:r>
          </a:p>
          <a:p>
            <a:pPr marL="0" indent="0">
              <a:buNone/>
            </a:pPr>
            <a:endParaRPr lang="zh-CN" altLang="en-US" sz="1800" dirty="0"/>
          </a:p>
        </p:txBody>
      </p:sp>
      <p:sp>
        <p:nvSpPr>
          <p:cNvPr id="5" name="Slide Number Placeholder 4">
            <a:extLst>
              <a:ext uri="{FF2B5EF4-FFF2-40B4-BE49-F238E27FC236}">
                <a16:creationId xmlns:a16="http://schemas.microsoft.com/office/drawing/2014/main" id="{18294FC0-ACBA-4560-A08D-3F84D48921EF}"/>
              </a:ext>
            </a:extLst>
          </p:cNvPr>
          <p:cNvSpPr>
            <a:spLocks noGrp="1"/>
          </p:cNvSpPr>
          <p:nvPr>
            <p:ph type="sldNum" sz="quarter" idx="16"/>
          </p:nvPr>
        </p:nvSpPr>
        <p:spPr/>
        <p:txBody>
          <a:bodyPr/>
          <a:lstStyle/>
          <a:p>
            <a:r>
              <a:rPr lang="en-US" noProof="0"/>
              <a:t>Page </a:t>
            </a:r>
            <a:fld id="{CDF7CB8E-0C0F-4AA4-8EC3-057F9A13ED4A}" type="slidenum">
              <a:rPr lang="en-US" noProof="0" smtClean="0"/>
              <a:pPr/>
              <a:t>8</a:t>
            </a:fld>
            <a:endParaRPr lang="en-US" noProof="0" dirty="0"/>
          </a:p>
        </p:txBody>
      </p:sp>
      <p:sp>
        <p:nvSpPr>
          <p:cNvPr id="6" name="Title 5">
            <a:extLst>
              <a:ext uri="{FF2B5EF4-FFF2-40B4-BE49-F238E27FC236}">
                <a16:creationId xmlns:a16="http://schemas.microsoft.com/office/drawing/2014/main" id="{BBA4308A-95DC-4AA5-81BC-9D7C90B30A0E}"/>
              </a:ext>
            </a:extLst>
          </p:cNvPr>
          <p:cNvSpPr>
            <a:spLocks noGrp="1"/>
          </p:cNvSpPr>
          <p:nvPr>
            <p:ph type="title"/>
          </p:nvPr>
        </p:nvSpPr>
        <p:spPr/>
        <p:txBody>
          <a:bodyPr/>
          <a:lstStyle/>
          <a:p>
            <a:r>
              <a:rPr lang="en-US" altLang="zh-CN" dirty="0">
                <a:solidFill>
                  <a:srgbClr val="004388"/>
                </a:solidFill>
              </a:rPr>
              <a:t>Rise of the China Domestic Apparel Market</a:t>
            </a:r>
            <a:endParaRPr lang="zh-CN" altLang="en-US" dirty="0">
              <a:solidFill>
                <a:srgbClr val="004388"/>
              </a:solidFill>
            </a:endParaRPr>
          </a:p>
        </p:txBody>
      </p:sp>
      <p:pic>
        <p:nvPicPr>
          <p:cNvPr id="8" name="Picture 7">
            <a:extLst>
              <a:ext uri="{FF2B5EF4-FFF2-40B4-BE49-F238E27FC236}">
                <a16:creationId xmlns:a16="http://schemas.microsoft.com/office/drawing/2014/main" id="{3EF5DB0E-9C43-4604-907E-A095432C0D53}"/>
              </a:ext>
            </a:extLst>
          </p:cNvPr>
          <p:cNvPicPr>
            <a:picLocks noChangeAspect="1"/>
          </p:cNvPicPr>
          <p:nvPr/>
        </p:nvPicPr>
        <p:blipFill>
          <a:blip r:embed="rId2"/>
          <a:stretch>
            <a:fillRect/>
          </a:stretch>
        </p:blipFill>
        <p:spPr>
          <a:xfrm>
            <a:off x="9955750" y="4204833"/>
            <a:ext cx="1755517" cy="1143000"/>
          </a:xfrm>
          <a:prstGeom prst="rect">
            <a:avLst/>
          </a:prstGeom>
        </p:spPr>
      </p:pic>
      <p:pic>
        <p:nvPicPr>
          <p:cNvPr id="9" name="Picture 8">
            <a:extLst>
              <a:ext uri="{FF2B5EF4-FFF2-40B4-BE49-F238E27FC236}">
                <a16:creationId xmlns:a16="http://schemas.microsoft.com/office/drawing/2014/main" id="{D88FD210-D0CC-465B-B754-61AD5E59F0D3}"/>
              </a:ext>
            </a:extLst>
          </p:cNvPr>
          <p:cNvPicPr>
            <a:picLocks noChangeAspect="1"/>
          </p:cNvPicPr>
          <p:nvPr/>
        </p:nvPicPr>
        <p:blipFill>
          <a:blip r:embed="rId3"/>
          <a:stretch>
            <a:fillRect/>
          </a:stretch>
        </p:blipFill>
        <p:spPr>
          <a:xfrm>
            <a:off x="8457571" y="1219994"/>
            <a:ext cx="3256591" cy="913063"/>
          </a:xfrm>
          <a:prstGeom prst="rect">
            <a:avLst/>
          </a:prstGeom>
        </p:spPr>
      </p:pic>
      <p:pic>
        <p:nvPicPr>
          <p:cNvPr id="12" name="Picture 11">
            <a:extLst>
              <a:ext uri="{FF2B5EF4-FFF2-40B4-BE49-F238E27FC236}">
                <a16:creationId xmlns:a16="http://schemas.microsoft.com/office/drawing/2014/main" id="{C2AE07EF-7B22-41B1-86A6-599D8B534449}"/>
              </a:ext>
            </a:extLst>
          </p:cNvPr>
          <p:cNvPicPr>
            <a:picLocks noChangeAspect="1"/>
          </p:cNvPicPr>
          <p:nvPr/>
        </p:nvPicPr>
        <p:blipFill rotWithShape="1">
          <a:blip r:embed="rId4"/>
          <a:srcRect/>
          <a:stretch/>
        </p:blipFill>
        <p:spPr>
          <a:xfrm>
            <a:off x="9581704" y="2502811"/>
            <a:ext cx="2129563" cy="1206161"/>
          </a:xfrm>
          <a:prstGeom prst="rect">
            <a:avLst/>
          </a:prstGeom>
        </p:spPr>
      </p:pic>
    </p:spTree>
    <p:extLst>
      <p:ext uri="{BB962C8B-B14F-4D97-AF65-F5344CB8AC3E}">
        <p14:creationId xmlns:p14="http://schemas.microsoft.com/office/powerpoint/2010/main" val="30578489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28EB17C-490A-467D-904A-6FC3E48AD003}"/>
              </a:ext>
            </a:extLst>
          </p:cNvPr>
          <p:cNvSpPr>
            <a:spLocks noGrp="1"/>
          </p:cNvSpPr>
          <p:nvPr>
            <p:ph type="body" sz="quarter" idx="13"/>
          </p:nvPr>
        </p:nvSpPr>
        <p:spPr>
          <a:xfrm>
            <a:off x="458787" y="1412875"/>
            <a:ext cx="11026824" cy="3747232"/>
          </a:xfrm>
        </p:spPr>
        <p:txBody>
          <a:bodyPr/>
          <a:lstStyle/>
          <a:p>
            <a:pPr>
              <a:lnSpc>
                <a:spcPct val="100000"/>
              </a:lnSpc>
              <a:spcBef>
                <a:spcPts val="1200"/>
              </a:spcBef>
              <a:spcAft>
                <a:spcPts val="300"/>
              </a:spcAft>
            </a:pPr>
            <a:r>
              <a:rPr lang="en-US" altLang="zh-CN" sz="1800" dirty="0"/>
              <a:t>Nonwovens was in the past the “go to” interlining for the apparel industry.  This changed about 20 years ago when </a:t>
            </a:r>
            <a:r>
              <a:rPr lang="en-US" altLang="zh-CN" sz="1800" dirty="0" err="1"/>
              <a:t>wovens</a:t>
            </a:r>
            <a:r>
              <a:rPr lang="en-US" altLang="zh-CN" sz="1800" dirty="0"/>
              <a:t> and knit, with prices decreasing, emerged as a substitute for nonwovens.</a:t>
            </a:r>
          </a:p>
          <a:p>
            <a:pPr>
              <a:lnSpc>
                <a:spcPct val="100000"/>
              </a:lnSpc>
              <a:spcBef>
                <a:spcPts val="1200"/>
              </a:spcBef>
              <a:spcAft>
                <a:spcPts val="300"/>
              </a:spcAft>
            </a:pPr>
            <a:r>
              <a:rPr lang="en-US" altLang="zh-CN" sz="1800" dirty="0"/>
              <a:t>Nonwovens interlinings is now seen as a “commodity” product. Price is the key decision criteria. Quality differentiation and innovation potential is considered minimal.</a:t>
            </a:r>
          </a:p>
          <a:p>
            <a:pPr>
              <a:lnSpc>
                <a:spcPct val="100000"/>
              </a:lnSpc>
              <a:spcBef>
                <a:spcPts val="1200"/>
              </a:spcBef>
              <a:spcAft>
                <a:spcPts val="300"/>
              </a:spcAft>
            </a:pPr>
            <a:r>
              <a:rPr lang="en-US" altLang="zh-CN" sz="1800" dirty="0"/>
              <a:t>Exception would be wadding insulation as it is considered a critical component for the garment. Quality differentiation and innovation potential exists.  But wadding insulation is a small segment compared to the much bigger interlining one.</a:t>
            </a:r>
          </a:p>
          <a:p>
            <a:pPr>
              <a:lnSpc>
                <a:spcPct val="100000"/>
              </a:lnSpc>
              <a:spcBef>
                <a:spcPts val="1200"/>
              </a:spcBef>
            </a:pPr>
            <a:r>
              <a:rPr lang="en-US" altLang="zh-CN" sz="1800" dirty="0"/>
              <a:t>Nonwovens outlook for the apparel market in general has been unattractive.  </a:t>
            </a:r>
          </a:p>
          <a:p>
            <a:pPr>
              <a:lnSpc>
                <a:spcPct val="100000"/>
              </a:lnSpc>
              <a:spcBef>
                <a:spcPts val="1200"/>
              </a:spcBef>
            </a:pPr>
            <a:r>
              <a:rPr lang="en-US" sz="1800" dirty="0"/>
              <a:t>But in Sept 2022 with the launch of Nike Forward, there is renewed interest in nonwovens, not as an interlining, but as a potential outer fabric application.  Innovation and sustainability are the keys to success.</a:t>
            </a:r>
          </a:p>
        </p:txBody>
      </p:sp>
      <p:sp>
        <p:nvSpPr>
          <p:cNvPr id="5" name="Slide Number Placeholder 4">
            <a:extLst>
              <a:ext uri="{FF2B5EF4-FFF2-40B4-BE49-F238E27FC236}">
                <a16:creationId xmlns:a16="http://schemas.microsoft.com/office/drawing/2014/main" id="{8EDE15A7-C26E-44ED-B41F-DDFBE4693962}"/>
              </a:ext>
            </a:extLst>
          </p:cNvPr>
          <p:cNvSpPr>
            <a:spLocks noGrp="1"/>
          </p:cNvSpPr>
          <p:nvPr>
            <p:ph type="sldNum" sz="quarter" idx="16"/>
          </p:nvPr>
        </p:nvSpPr>
        <p:spPr/>
        <p:txBody>
          <a:bodyPr/>
          <a:lstStyle/>
          <a:p>
            <a:r>
              <a:rPr lang="en-US" noProof="0"/>
              <a:t>Page </a:t>
            </a:r>
            <a:fld id="{CDF7CB8E-0C0F-4AA4-8EC3-057F9A13ED4A}" type="slidenum">
              <a:rPr lang="en-US" noProof="0" smtClean="0"/>
              <a:pPr/>
              <a:t>9</a:t>
            </a:fld>
            <a:endParaRPr lang="en-US" noProof="0" dirty="0"/>
          </a:p>
        </p:txBody>
      </p:sp>
      <p:sp>
        <p:nvSpPr>
          <p:cNvPr id="6" name="Title 5">
            <a:extLst>
              <a:ext uri="{FF2B5EF4-FFF2-40B4-BE49-F238E27FC236}">
                <a16:creationId xmlns:a16="http://schemas.microsoft.com/office/drawing/2014/main" id="{E75AA7A1-F572-4301-8B82-9A8E956249A5}"/>
              </a:ext>
            </a:extLst>
          </p:cNvPr>
          <p:cNvSpPr>
            <a:spLocks noGrp="1"/>
          </p:cNvSpPr>
          <p:nvPr>
            <p:ph type="title"/>
          </p:nvPr>
        </p:nvSpPr>
        <p:spPr/>
        <p:txBody>
          <a:bodyPr/>
          <a:lstStyle/>
          <a:p>
            <a:r>
              <a:rPr lang="en-US" altLang="zh-CN" dirty="0">
                <a:solidFill>
                  <a:srgbClr val="004388"/>
                </a:solidFill>
              </a:rPr>
              <a:t>Future of </a:t>
            </a:r>
            <a:r>
              <a:rPr lang="en-US" altLang="zh-CN" dirty="0" err="1">
                <a:solidFill>
                  <a:srgbClr val="004388"/>
                </a:solidFill>
              </a:rPr>
              <a:t>NonWovens</a:t>
            </a:r>
            <a:r>
              <a:rPr lang="en-US" altLang="zh-CN" dirty="0">
                <a:solidFill>
                  <a:srgbClr val="004388"/>
                </a:solidFill>
              </a:rPr>
              <a:t> in the Apparel Industry</a:t>
            </a:r>
            <a:endParaRPr lang="zh-CN" altLang="en-US" dirty="0">
              <a:solidFill>
                <a:srgbClr val="004388"/>
              </a:solidFill>
            </a:endParaRPr>
          </a:p>
        </p:txBody>
      </p:sp>
    </p:spTree>
    <p:extLst>
      <p:ext uri="{BB962C8B-B14F-4D97-AF65-F5344CB8AC3E}">
        <p14:creationId xmlns:p14="http://schemas.microsoft.com/office/powerpoint/2010/main" val="1756106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DEFAULTLANGUAGEID" val="1033"/>
  <p:tag name="THINKCELLUNDODONOTDELETE" val="0"/>
  <p:tag name="VCT_SHOW_CA" val="Fals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NtKOZvAROkSPaNTvwfz98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UiXHEebCJ0qcQna5we8al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5Kd_WJ4V90yApZiJPw.7y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blEmD4Wf30O6PUrP1cpt3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gOvN72u.6UCJIL_UovB2z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Lul9I_mJU0WV23uJNeoE_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CevVdnRt7EGjEt1jVqW4R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xAPjNHvwZEWUR96uh3dAc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G9PlkzhAkkmnOHHAj7VeK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lwCEVPNUqESTmQ2fVEle1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dZ9.2EieVEKJn2GP04SLS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w6ytru_cskaQ_2GEDoJfw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cDHbms8FrEW6LulTuBza2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VUfX1Otr5EiEgl4_QmNn9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xt7etMiLAkSjVXvllFYL2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W0odmPtEwUqakrzXdAtBF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3mZ1HL5QPk.Vin5fRVo1N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JB4cRRUXikWZIkc4gDZg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kJsrIamq.UmyR.JQPaZZa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XyoYT_8zgEuCY6M0LLZl7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ryyeBlCY0keb6LOL5zOEz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ikzW_0EegEiio7qNYhfmh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flT.eKREL0SZGx5284ZDu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DIRwpzyr60m2SEEUjTywh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fHD_up4tWESmVBu9Gz.J1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CjM9D2MgUG_d3xxyMDpc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ULXkOmX9kEOKgaeAWguB5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vQzuv.L3D0mkv2x1D7fc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2cWJBN_Lak.GkSaZvd8Zu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f143JP7NvESmyq9WTbnYg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RhiBu6O1.kKUllITZLDGD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BT1Qk0EU70GbwWvFw7R.5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l5AjrQg8VU.5jTid7eKms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wFCmYvCi3U2kmMZD1YB3R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FsRdYydjqUuvveAHvzv9D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AOgiYs4U_kSxUL9v.rReT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cW0PdRWMHUquNMeD2sjSa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e2K7imohuEiL.UPnJgO7B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LxHAuqWE6kyxjDjQWu7Jd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UbyDPQFWYki.X7t_Sn06f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hTOsxC6pcUCeS1fkY6U.J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qySQ6Bw88Uy_TRHvc3imT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d_kgn61Rs0qcG9AVcrzk1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AIDG.K95dE.fagde2OD2C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GjsmOmJMwUid7YNu90.Ty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ot4oxjDF6E.Qog_XCPFXs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SzKGyENSw02_VzQhCsPJz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nB7er_rDdkupwDEKFEjtR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_YYl1ZJBqU2f5E9YpmZeh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81wAdMBRFEKc7FR3_S1W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8OHrexh470yiuEHNm4RD6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rVIRplTzDUSE4WohjwKA2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6lPmlmeRR0Wl7uZ1CWtmu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leecCIQ9UESTxjqCTvA7s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xebXbRZmE2CFNi_Tpqg3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ofLJ7HjTmUWt0dCfEQcCT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UDWjXJKKCEyd0z8n54kcT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FUG7GC.ANEegR8ytYoDM4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frMmeDbA2UCzyPqS.E_ae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mdo2.1Itt0Gb4LlcSYr3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2r0SLfjKC06lWRVm5Z5ou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UBTk2Uyz0aZASuTzy3IK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FJjEAtuaSEebuowb1wMKe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Q90oxoEtRE.lqxEk1Jgbw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1Y8Y1F07hEeaWX98qAVKt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gWUYalirkyWa6NX8d8Tn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apjTNG1ngEGVQfcqupKbS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dLzHASDhJkeEeXOmXXUHe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Um1GcWV3Uaf8qAh5JXsz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kbXfWsmIbU2kBT9UooU.5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e_OSRU28QkymBmJ04Yk24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7bOqBTSCtEmEH4lNtYBxW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3RIxol.AoUK3I75TrmL.l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Nt07Gwnrb0C7i.D7EfrCb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KRrrThPK4EGy93iKEt6s9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fngVLJLWJ0GeCqiHB5v0r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IR38hBAz0E2evBBH1RuHE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5it6ne1kIECd7glS1mQ9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ceLYEczFzUi3pMfR5P_OQ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NLPswjn2fke.LgNArpgM4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dLKJAJlbn0qOH2.NREh2x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IgXoe41Yk6ZTTbEa3RHw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gqOSYthjDUGHFihEeWB0R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NkOLiXmcoUGt8Db0_317R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j6fYjEhYlE6bGY_Fdx7z_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b7Eo8zsQPUyO7UZ3ZUhxh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cWMNQSIfqUiSTmU3kbYBr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OywOLvu3TkScxcDUdD4yR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wEQbAT4EcECGqmCOJNke.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Lp1OBpuKtE6JQwDckzM_0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ICh5.7yhX0K3fv.3KAIZ8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a3a6fEAk0iEy2Z7ES09m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VsmmcjyqVUa9SVGP3fOmL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b4Dx0nnn5kaJHx2OGm6cu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vRR6tYYpyECW0uH9dmdd_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9QRLQO6ry0.8ouNnSZeMX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SFive.YvUSStMwAO0ZBJ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WfrazT_Jw0qlClwVph9lu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c5VwRm0_1k2HWyUN80ZrI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WC_DBSjPYU6hDv6CRpfBa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IFp274mEDUu4_XX6QvOzs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lJMzKU9BZkiTxQuMTVbNh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e1EnPdC8Bka8JoKsJfY9n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gpq0YIRJH0awWJ2rfiQU.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jr23_nT0l0uwaAS8wQzEW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yW3FU4Q5CU2B3TRP538mJ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GA3bryg89kCvym038QORl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GA3bryg89kCvym038QORl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GA3bryg89kCvym038QORl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ICh5.7yhX0K3fv.3KAIZ8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d_.cLLKvZEuoWJ.zyFxoE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8QsW19byvUuEiXHPNZ5Zo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N3YQoOeuWUG_iK2X53CSQ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a3a6fEAk0iEy2Z7ES09m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5uTRg2I7eUWT0vjHx.NBO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LE.RTNZLsESQYgJANh82Q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swlJuccLka6_xbzJ4uQJ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UBTk2Uyz0aZASuTzy3IK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VsmmcjyqVUa9SVGP3fOmLA"/>
</p:tagLst>
</file>

<file path=ppt/tags/tag219.xml><?xml version="1.0" encoding="utf-8"?>
<p:tagLst xmlns:a="http://schemas.openxmlformats.org/drawingml/2006/main" xmlns:r="http://schemas.openxmlformats.org/officeDocument/2006/relationships" xmlns:p="http://schemas.openxmlformats.org/presentationml/2006/main">
  <p:tag name="VCT-BODYINDENTATION" val="0;0;0;0;0;21.25;21.26968;42.51968;42.51968;63.77953;63.77953;85.03937;63.77953;85.03937;63.77953;85.03937;63.77953;85.03937;"/>
  <p:tag name="VCT-BULLETVISIBILITY" val="G  *******"/>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VCT-BODYINDENTATION" val="0;0;0;0;0;21.25;21.26968;42.51968;42.51968;63.77953;63.77953;85.03937;63.77953;85.03937;63.77953;85.03937;63.77953;85.03937;"/>
  <p:tag name="VCT-BULLETVISIBILITY" val="G  *******"/>
</p:tagLst>
</file>

<file path=ppt/tags/tag221.xml><?xml version="1.0" encoding="utf-8"?>
<p:tagLst xmlns:a="http://schemas.openxmlformats.org/drawingml/2006/main" xmlns:r="http://schemas.openxmlformats.org/officeDocument/2006/relationships" xmlns:p="http://schemas.openxmlformats.org/presentationml/2006/main">
  <p:tag name="VCT-BODYINDENTATION" val="0;0;0;0;0;21.25;21.26968;42.51968;42.51968;63.77953;63.77953;85.03937;63.77953;85.03937;63.77953;85.03937;63.77953;85.03937;"/>
  <p:tag name="VCT-BULLETVISIBILITY" val="G  *******"/>
</p:tagLst>
</file>

<file path=ppt/tags/tag222.xml><?xml version="1.0" encoding="utf-8"?>
<p:tagLst xmlns:a="http://schemas.openxmlformats.org/drawingml/2006/main" xmlns:r="http://schemas.openxmlformats.org/officeDocument/2006/relationships" xmlns:p="http://schemas.openxmlformats.org/presentationml/2006/main">
  <p:tag name="VCT-BODYINDENTATION" val="0;0;0;0;0;21.25;21.26968;42.51968;42.51968;63.77953;63.77953;85.03937;63.77953;85.03937;63.77953;85.03937;63.77953;85.03937;"/>
  <p:tag name="VCT-BULLETVISIBILITY" val="G  *******"/>
</p:tagLst>
</file>

<file path=ppt/tags/tag223.xml><?xml version="1.0" encoding="utf-8"?>
<p:tagLst xmlns:a="http://schemas.openxmlformats.org/drawingml/2006/main" xmlns:r="http://schemas.openxmlformats.org/officeDocument/2006/relationships" xmlns:p="http://schemas.openxmlformats.org/presentationml/2006/main">
  <p:tag name="VCT-BODYINDENTATION" val="0;0;0;0;0;21.25;21.26968;42.51968;42.51968;63.77953;63.77953;85.03937;63.77953;85.03937;63.77953;85.03937;63.77953;85.03937;"/>
  <p:tag name="VCT-BULLETVISIBILITY" val="G  *******"/>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BODYINDENTATION" val="0;0;0;0;0;21.25;21.26968;42.51968;42.51968;63.77953;63.77953;85.03937;63.77953;85.03937;63.77953;85.03937;63.77953;85.03937;"/>
  <p:tag name="VCT-BULLETVISIBILITY" val="G  *******"/>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STYLE" val="VCT_Marker"/>
  <p:tag name="DATE" val="09/23/2016 10:10:49"/>
  <p:tag name="VCTMASTER" val="FREU_Master_16 9 (3)"/>
  <p:tag name="VCTORDER" val="1"/>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NiZQQZLRzUieibe_5ZD4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zx2U.vJXKkSpYZwUqKxMg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WBj_CKEKmkCfYCmJxr.gv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MJ7mz42mvU6K_AwQlHzx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lm2rYpbBwEuRnG3vp8MGB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5CtGItmd_0iUbpKWj995H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5LqGrv_eTkeWoGw67pBmJ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IuvoPpIOZ02KzNp1Xt1_o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ZowJcdEda0mVLhRZ7kTRB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ijo4J4n.C0SAeZrJv39yM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Z.8NhrqT6EO9L.HK3WknO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EHCqjUQ2mU2lvKZ.E1dZa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oC6vxz5DRkGhiupswes0N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LijvM282e0KiTVBfpVjZY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khj4Nzq0cU._Df84JVxL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7c67_hp8uEC6mXafl2FU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NFEGqq04XUaDO26aYhawJ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LvYE7o8lzkWHK5z.pEoZ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Cwjy8PUuFUqWrNtrto5pJ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Dfop_84EWHR5cq6LE5p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Ex8P6sa9q0eH3WNxAQAN0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iBvojjWTTky7n..HvzEo6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IoPW6oJqnEexg0s7y7jD7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a_8NCw9RvkuzRMC7.mqZ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vwK8GHRdNEW.dtmpypItK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9spwtJXLE2HRtHDS0svL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qyvpbLhG40qau742.M.hE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fIBeaneAD06Fw7ZLNztE4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vNyh.yM1rUSLB2uUU9yTC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Yf_Y0HL8hUizmjNZ00Ou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g5ke3M.WkimGaahjkc4E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I34T34fFEEendw09p2AG6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ZtzGuX.FfE.k8C5T.BjMc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AF8be_9MKk2L6CXl1mIAp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1YU8p4KbK0qYvK_5nEyh.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d2fb9K27ekaXi4Xkb38xP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5w5LynsFEmdUCRpAu3xQ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H8qmxqKakqsUFeC2cBo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hq0PLQdUg0WsQp_Z9V1j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czmixue70UqykNybulSAS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G_BbXtahoUWBOoxWNH.id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yU1jHQ6tlUeliH3MwQ0Q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m4xroLlTA0u3uRBwcyvAq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DxalnW7ii0S65cD3mC25u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_tWsRbbkW1.9N0thAiP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yHuUPk5AaUeWvZTbsS9Jf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e86qrYADq0WfTxxjBcTIN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u0Tg9lNf9EK98A.HOcRsWQ"/>
</p:tagLst>
</file>

<file path=ppt/theme/theme1.xml><?xml version="1.0" encoding="utf-8"?>
<a:theme xmlns:a="http://schemas.openxmlformats.org/drawingml/2006/main" name="FREUDENBERG_Master_16 9">
  <a:themeElements>
    <a:clrScheme name="Freudenberg">
      <a:dk1>
        <a:srgbClr val="000000"/>
      </a:dk1>
      <a:lt1>
        <a:srgbClr val="FFFFFF"/>
      </a:lt1>
      <a:dk2>
        <a:srgbClr val="000000"/>
      </a:dk2>
      <a:lt2>
        <a:srgbClr val="FFFFFF"/>
      </a:lt2>
      <a:accent1>
        <a:srgbClr val="004388"/>
      </a:accent1>
      <a:accent2>
        <a:srgbClr val="00A6E2"/>
      </a:accent2>
      <a:accent3>
        <a:srgbClr val="D9DADB"/>
      </a:accent3>
      <a:accent4>
        <a:srgbClr val="80A1C3"/>
      </a:accent4>
      <a:accent5>
        <a:srgbClr val="9C9E9F"/>
      </a:accent5>
      <a:accent6>
        <a:srgbClr val="3F3F3F"/>
      </a:accent6>
      <a:hlink>
        <a:srgbClr val="595959"/>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1"/>
        </a:solidFill>
        <a:ln w="6350">
          <a:solidFill>
            <a:schemeClr val="accent4"/>
          </a:solidFill>
        </a:ln>
      </a:spPr>
      <a:bodyPr rtlCol="0" anchor="ctr"/>
      <a:lstStyle>
        <a:defPPr algn="ctr">
          <a:lnSpc>
            <a:spcPct val="120000"/>
          </a:lnSpc>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bwMode="gray">
        <a:solidFill>
          <a:schemeClr val="bg1"/>
        </a:solidFill>
        <a:ln w="6350">
          <a:solidFill>
            <a:schemeClr val="accent4"/>
          </a:solidFill>
        </a:ln>
      </a:spPr>
      <a:bodyPr vert="horz" lIns="144000" tIns="90000" rIns="144000" bIns="90000" rtlCol="0">
        <a:noAutofit/>
      </a:bodyPr>
      <a:lstStyle>
        <a:defPPr algn="l">
          <a:defRPr dirty="0"/>
        </a:defPPr>
      </a:lstStyle>
    </a:txDef>
  </a:objectDefaults>
  <a:extraClrSchemeLst/>
  <a:custClrLst>
    <a:custClr name="Basic blue 100%">
      <a:srgbClr val="004388"/>
    </a:custClr>
    <a:custClr name="Accent Blue 100%">
      <a:srgbClr val="00A6E2"/>
    </a:custClr>
    <a:custClr name="Green 100%">
      <a:srgbClr val="007D4E"/>
    </a:custClr>
    <a:custClr name="Red 100%">
      <a:srgbClr val="DF342E"/>
    </a:custClr>
    <a:custClr name="Yellow 100%">
      <a:srgbClr val="F7A600"/>
    </a:custClr>
    <a:custClr name="Bright Green 100%">
      <a:srgbClr val="76B82A"/>
    </a:custClr>
    <a:custClr name="Dark Gray 100%">
      <a:srgbClr val="3F3F3F"/>
    </a:custClr>
    <a:custClr>
      <a:srgbClr val="FFFFFF"/>
    </a:custClr>
    <a:custClr>
      <a:srgbClr val="FFFFFF"/>
    </a:custClr>
    <a:custClr>
      <a:srgbClr val="FFFFFF"/>
    </a:custClr>
    <a:custClr name="Basic blue 50%">
      <a:srgbClr val="80A1C3"/>
    </a:custClr>
    <a:custClr name="Accent Blue 50%">
      <a:srgbClr val="7FD2F0"/>
    </a:custClr>
    <a:custClr name="Green 50%">
      <a:srgbClr val="7FBEA6"/>
    </a:custClr>
    <a:custClr name="Red 50%">
      <a:srgbClr val="EF9A97"/>
    </a:custClr>
    <a:custClr name="Yellow 50%">
      <a:srgbClr val="FBD27F"/>
    </a:custClr>
    <a:custClr name="Bright Green 50%">
      <a:srgbClr val="BBDC95"/>
    </a:custClr>
    <a:custClr name="Dark Gray 50%">
      <a:srgbClr val="9C9E9F"/>
    </a:custClr>
    <a:custClr>
      <a:srgbClr val="FFFFFF"/>
    </a:custClr>
    <a:custClr>
      <a:srgbClr val="FFFFFF"/>
    </a:custClr>
    <a:custClr>
      <a:srgbClr val="FFFFFF"/>
    </a:custClr>
    <a:custClr name="Basic blue 20%">
      <a:srgbClr val="CCD9E7"/>
    </a:custClr>
    <a:custClr name="Accent Blue 20%">
      <a:srgbClr val="CCEDF9"/>
    </a:custClr>
    <a:custClr name="Green 20%">
      <a:srgbClr val="CCE5DC"/>
    </a:custClr>
    <a:custClr name="Red 20%">
      <a:srgbClr val="F9D6D5"/>
    </a:custClr>
    <a:custClr name="Yellow 20%">
      <a:srgbClr val="FDEDCC"/>
    </a:custClr>
    <a:custClr name="Bright Green 20%">
      <a:srgbClr val="E4F1D4"/>
    </a:custClr>
    <a:custClr name="Dark Gray 20%">
      <a:srgbClr val="D9DADB"/>
    </a:custClr>
    <a:custClr>
      <a:srgbClr val="FFFFFF"/>
    </a:custClr>
    <a:custClr>
      <a:srgbClr val="FFFFFF"/>
    </a:custClr>
    <a:custClr>
      <a:srgbClr val="FFFFFF"/>
    </a:custClr>
  </a:custClrLst>
  <a:extLst>
    <a:ext uri="{05A4C25C-085E-4340-85A3-A5531E510DB2}">
      <thm15:themeFamily xmlns:thm15="http://schemas.microsoft.com/office/thememl/2012/main" name="FPM_Slide library_Marketing_16to9_EN.potx" id="{5C77A8AA-7EA0-43F1-9862-A33E8150EB05}" vid="{BFA67346-4680-41C7-BA97-09A8BB919185}"/>
    </a:ext>
  </a:ext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e827f938-ecc6-4d23-9a89-4b19d8dacf0e"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AC536C6D13E2840B6BF2424331BE95F" ma:contentTypeVersion="15" ma:contentTypeDescription="Create a new document." ma:contentTypeScope="" ma:versionID="3e44d2661b4943d2686fe13ede16c21d">
  <xsd:schema xmlns:xsd="http://www.w3.org/2001/XMLSchema" xmlns:xs="http://www.w3.org/2001/XMLSchema" xmlns:p="http://schemas.microsoft.com/office/2006/metadata/properties" xmlns:ns3="e827f938-ecc6-4d23-9a89-4b19d8dacf0e" xmlns:ns4="0b4f10a2-aaf3-4143-aec7-5e697cd87388" targetNamespace="http://schemas.microsoft.com/office/2006/metadata/properties" ma:root="true" ma:fieldsID="f98077835d122bd23c2ca6d493c65d61" ns3:_="" ns4:_="">
    <xsd:import namespace="e827f938-ecc6-4d23-9a89-4b19d8dacf0e"/>
    <xsd:import namespace="0b4f10a2-aaf3-4143-aec7-5e697cd87388"/>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_activity" minOccurs="0"/>
                <xsd:element ref="ns4:SharedWithUsers" minOccurs="0"/>
                <xsd:element ref="ns4:SharedWithDetails" minOccurs="0"/>
                <xsd:element ref="ns4:SharingHintHash"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827f938-ecc6-4d23-9a89-4b19d8dacf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_activity" ma:index="18"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b4f10a2-aaf3-4143-aec7-5e697cd87388"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SharingHintHash" ma:index="21"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9AE1B85-778A-49D3-B1B4-DCDF7611EAC1}">
  <ds:schemaRefs>
    <ds:schemaRef ds:uri="http://purl.org/dc/dcmitype/"/>
    <ds:schemaRef ds:uri="http://schemas.microsoft.com/office/infopath/2007/PartnerControls"/>
    <ds:schemaRef ds:uri="0b4f10a2-aaf3-4143-aec7-5e697cd87388"/>
    <ds:schemaRef ds:uri="http://purl.org/dc/elements/1.1/"/>
    <ds:schemaRef ds:uri="http://schemas.microsoft.com/office/2006/metadata/properties"/>
    <ds:schemaRef ds:uri="e827f938-ecc6-4d23-9a89-4b19d8dacf0e"/>
    <ds:schemaRef ds:uri="http://schemas.microsoft.com/office/2006/documentManagement/types"/>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431BD901-36A0-4481-9A75-CD7804AC26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827f938-ecc6-4d23-9a89-4b19d8dacf0e"/>
    <ds:schemaRef ds:uri="0b4f10a2-aaf3-4143-aec7-5e697cd8738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FDBA8D0-A22B-4D95-AB86-C89EC21413E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PM_Slide library_Marketing_16to9_EN</Template>
  <TotalTime>0</TotalTime>
  <Words>1111</Words>
  <Application>Microsoft Office PowerPoint</Application>
  <PresentationFormat>Custom</PresentationFormat>
  <Paragraphs>142</Paragraphs>
  <Slides>10</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10</vt:i4>
      </vt:variant>
    </vt:vector>
  </HeadingPairs>
  <TitlesOfParts>
    <vt:vector size="22" baseType="lpstr">
      <vt:lpstr>微軟正黑體</vt:lpstr>
      <vt:lpstr>Open Sans</vt:lpstr>
      <vt:lpstr>PMingLiU</vt:lpstr>
      <vt:lpstr>黑体</vt:lpstr>
      <vt:lpstr>SimSun</vt:lpstr>
      <vt:lpstr>Arial</vt:lpstr>
      <vt:lpstr>Calibri</vt:lpstr>
      <vt:lpstr>Wingdings</vt:lpstr>
      <vt:lpstr>Wingdings 2</vt:lpstr>
      <vt:lpstr>FREUDENBERG_Master_16 9</vt:lpstr>
      <vt:lpstr>think-cell Folie</vt:lpstr>
      <vt:lpstr>think-cell Slide</vt:lpstr>
      <vt:lpstr>Status of the Asian Apparel Industry After The Pandemic</vt:lpstr>
      <vt:lpstr>Self Introduction</vt:lpstr>
      <vt:lpstr>PowerPoint Presentation</vt:lpstr>
      <vt:lpstr>Freudenberg apparel asia</vt:lpstr>
      <vt:lpstr>Agenda “Status of the Asian Apparel Industry After The Pandemic”</vt:lpstr>
      <vt:lpstr>Changes in the Apparel Industry due to Covid - A MACRO OVERVIEW</vt:lpstr>
      <vt:lpstr>“Exodus” out of China by Western Brands??</vt:lpstr>
      <vt:lpstr>Rise of the China Domestic Apparel Market</vt:lpstr>
      <vt:lpstr>Future of NonWovens in the Apparel Industry</vt:lpstr>
      <vt:lpstr>Thank you!</vt:lpstr>
    </vt:vector>
  </TitlesOfParts>
  <Company>Freudenberg Performance Material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maximum 2 lines,  Arial 24 mixed, black</dc:title>
  <dc:creator>Diao, Huanhuan</dc:creator>
  <dc:description>Optimiert für PowerPoint 2010</dc:description>
  <cp:lastModifiedBy>Oh, Jonathan</cp:lastModifiedBy>
  <cp:revision>21</cp:revision>
  <dcterms:created xsi:type="dcterms:W3CDTF">2023-10-27T05:33:00Z</dcterms:created>
  <dcterms:modified xsi:type="dcterms:W3CDTF">2023-11-19T09:4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C536C6D13E2840B6BF2424331BE95F</vt:lpwstr>
  </property>
  <property fmtid="{D5CDD505-2E9C-101B-9397-08002B2CF9AE}" pid="3" name="MSIP_Label_41f6dd24-d674-4469-bea3-7d76697f0bbf_Enabled">
    <vt:lpwstr>true</vt:lpwstr>
  </property>
  <property fmtid="{D5CDD505-2E9C-101B-9397-08002B2CF9AE}" pid="4" name="MSIP_Label_41f6dd24-d674-4469-bea3-7d76697f0bbf_SetDate">
    <vt:lpwstr>2023-03-28T22:47:21Z</vt:lpwstr>
  </property>
  <property fmtid="{D5CDD505-2E9C-101B-9397-08002B2CF9AE}" pid="5" name="MSIP_Label_41f6dd24-d674-4469-bea3-7d76697f0bbf_Method">
    <vt:lpwstr>Standard</vt:lpwstr>
  </property>
  <property fmtid="{D5CDD505-2E9C-101B-9397-08002B2CF9AE}" pid="6" name="MSIP_Label_41f6dd24-d674-4469-bea3-7d76697f0bbf_Name">
    <vt:lpwstr>Internal</vt:lpwstr>
  </property>
  <property fmtid="{D5CDD505-2E9C-101B-9397-08002B2CF9AE}" pid="7" name="MSIP_Label_41f6dd24-d674-4469-bea3-7d76697f0bbf_SiteId">
    <vt:lpwstr>c7b07781-06f3-41d7-b40f-5b2de1018509</vt:lpwstr>
  </property>
  <property fmtid="{D5CDD505-2E9C-101B-9397-08002B2CF9AE}" pid="8" name="MSIP_Label_41f6dd24-d674-4469-bea3-7d76697f0bbf_ActionId">
    <vt:lpwstr>59c603e0-f3a1-46c9-97f3-efbf00e75559</vt:lpwstr>
  </property>
  <property fmtid="{D5CDD505-2E9C-101B-9397-08002B2CF9AE}" pid="9" name="MSIP_Label_41f6dd24-d674-4469-bea3-7d76697f0bbf_ContentBits">
    <vt:lpwstr>2</vt:lpwstr>
  </property>
  <property fmtid="{D5CDD505-2E9C-101B-9397-08002B2CF9AE}" pid="10" name="MediaServiceImageTags">
    <vt:lpwstr/>
  </property>
</Properties>
</file>